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07" r:id="rId1"/>
    <p:sldMasterId id="2147483699" r:id="rId2"/>
  </p:sldMasterIdLst>
  <p:notesMasterIdLst>
    <p:notesMasterId r:id="rId14"/>
  </p:notesMasterIdLst>
  <p:sldIdLst>
    <p:sldId id="398" r:id="rId3"/>
    <p:sldId id="399" r:id="rId4"/>
    <p:sldId id="400" r:id="rId5"/>
    <p:sldId id="825" r:id="rId6"/>
    <p:sldId id="402" r:id="rId7"/>
    <p:sldId id="814" r:id="rId8"/>
    <p:sldId id="815" r:id="rId9"/>
    <p:sldId id="830" r:id="rId10"/>
    <p:sldId id="405" r:id="rId11"/>
    <p:sldId id="403" r:id="rId12"/>
    <p:sldId id="812" r:id="rId13"/>
  </p:sldIdLst>
  <p:sldSz cx="9144000" cy="6858000" type="screen4x3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145B"/>
    <a:srgbClr val="ED26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202B0CA-FC54-4496-8BCA-5EF66A818D29}" styleName="Estilo Escuro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D03447BB-5D67-496B-8E87-E561075AD55C}" styleName="Estilo Escuro 1 - Ênfase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EC20E35-A176-4012-BC5E-935CFFF8708E}" styleName="Estilo Médio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>
      <p:cViewPr varScale="1">
        <p:scale>
          <a:sx n="86" d="100"/>
          <a:sy n="86" d="100"/>
        </p:scale>
        <p:origin x="1382" y="67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A5E1ED-E65E-440E-8A4B-5F5DC973F797}" type="datetimeFigureOut">
              <a:rPr lang="pt-BR" smtClean="0"/>
              <a:pPr/>
              <a:t>11/09/2023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0942CD-4DA8-49D4-9C3A-BA5FFA83272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140170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630A214-E188-C77C-B425-513451BCFB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A150CF2E-D0E3-F59B-D9C8-C55D6268700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3936CC2-0E36-B5CC-0790-6253A28F47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87AD07-0C2A-424C-83EF-FCCF4A0D3BA0}" type="datetime1">
              <a:rPr lang="pt-BR" smtClean="0"/>
              <a:t>11/09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4720CDAD-8DC1-477B-56DE-2AC6E9F394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784354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7BEAD23-7783-893D-17B8-452503D067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FE8F5BD4-F27D-69D7-9453-CB794E13BFD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A504015A-69BA-8802-36D2-C65FCD25A2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2FB66-59C8-46A5-AD82-5DAAFD2DC390}" type="datetime1">
              <a:rPr lang="pt-BR" smtClean="0"/>
              <a:t>11/09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0354F22-FC12-CE6D-59C2-1382867A40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807897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46F3F501-CB02-C519-2635-E0F0D716D2A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CF36AE80-6041-B154-D336-1DC6F4DE38A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4E006C1-761A-8C81-8861-24FDEBA556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5CC8D2-C61E-4471-AD68-1C0D45A8EAFC}" type="datetime1">
              <a:rPr lang="pt-BR" smtClean="0"/>
              <a:t>11/09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2D636FE-F941-2EEB-1F92-DA23953065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906883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older 4">
            <a:extLst>
              <a:ext uri="{FF2B5EF4-FFF2-40B4-BE49-F238E27FC236}">
                <a16:creationId xmlns:a16="http://schemas.microsoft.com/office/drawing/2014/main" id="{AD411D46-9E17-D6EB-83C7-D67283ACDD37}"/>
              </a:ext>
            </a:extLst>
          </p:cNvPr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6" name="Holder 5">
            <a:extLst>
              <a:ext uri="{FF2B5EF4-FFF2-40B4-BE49-F238E27FC236}">
                <a16:creationId xmlns:a16="http://schemas.microsoft.com/office/drawing/2014/main" id="{2D84562A-7C97-4305-1D4B-21C71A2A1854}"/>
              </a:ext>
            </a:extLst>
          </p:cNvPr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rgbClr val="F00659"/>
                </a:solidFill>
              </a:defRPr>
            </a:lvl1pPr>
          </a:lstStyle>
          <a:p>
            <a:fld id="{C3E38981-C08A-4A29-B885-392FB4EE0709}" type="datetime1">
              <a:rPr lang="pt-BR" smtClean="0"/>
              <a:t>11/09/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23996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abeçalho da Seçã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>
            <a:extLst>
              <a:ext uri="{FF2B5EF4-FFF2-40B4-BE49-F238E27FC236}">
                <a16:creationId xmlns:a16="http://schemas.microsoft.com/office/drawing/2014/main" id="{66BBCFB1-7055-FAC3-9389-5D3744D51A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1975644"/>
            <a:ext cx="9143999" cy="2906713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F05CB39F-3DB8-E388-0EA0-7784F89937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2073528"/>
            <a:ext cx="8387603" cy="1234448"/>
          </a:xfrm>
        </p:spPr>
        <p:txBody>
          <a:bodyPr anchor="ctr">
            <a:normAutofit/>
          </a:bodyPr>
          <a:lstStyle>
            <a:lvl1pPr>
              <a:defRPr sz="3000">
                <a:solidFill>
                  <a:schemeClr val="bg1">
                    <a:lumMod val="85000"/>
                  </a:schemeClr>
                </a:solidFill>
                <a:latin typeface="Gotham HTF"/>
              </a:defRPr>
            </a:lvl1pPr>
          </a:lstStyle>
          <a:p>
            <a:r>
              <a:rPr lang="pt-BR" dirty="0">
                <a:effectLst/>
                <a:latin typeface="Arial" panose="020B0604020202020204" pitchFamily="34" charset="0"/>
              </a:rPr>
              <a:t>Copyright © 2023 Prof. Fulano de tal</a:t>
            </a:r>
            <a:endParaRPr lang="pt-BR" dirty="0"/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0B763F2B-2F27-786A-0992-2F196A37DED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20070" y="2039438"/>
            <a:ext cx="149369" cy="2592933"/>
          </a:xfrm>
          <a:prstGeom prst="rect">
            <a:avLst/>
          </a:prstGeom>
        </p:spPr>
      </p:pic>
      <p:sp>
        <p:nvSpPr>
          <p:cNvPr id="18" name="Título 1">
            <a:extLst>
              <a:ext uri="{FF2B5EF4-FFF2-40B4-BE49-F238E27FC236}">
                <a16:creationId xmlns:a16="http://schemas.microsoft.com/office/drawing/2014/main" id="{FE912F4A-A0EB-DE48-638D-F3D24238F7A8}"/>
              </a:ext>
            </a:extLst>
          </p:cNvPr>
          <p:cNvSpPr txBox="1">
            <a:spLocks/>
          </p:cNvSpPr>
          <p:nvPr userDrawn="1"/>
        </p:nvSpPr>
        <p:spPr>
          <a:xfrm>
            <a:off x="628649" y="3357951"/>
            <a:ext cx="8024534" cy="1234448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just"/>
            <a:r>
              <a:rPr lang="pt-BR" sz="1400" dirty="0">
                <a:effectLst/>
                <a:latin typeface="Gotham HTF"/>
              </a:rPr>
              <a:t>Todos direitos reservados. Reprodução ou divulgação total ou parcial deste documento é expressamente proibido sem o consentimento formal, por escrito, do Professor (autor).</a:t>
            </a:r>
            <a:endParaRPr lang="pt-BR" sz="2800" dirty="0">
              <a:latin typeface="Gotham HTF"/>
            </a:endParaRPr>
          </a:p>
        </p:txBody>
      </p:sp>
    </p:spTree>
    <p:extLst>
      <p:ext uri="{BB962C8B-B14F-4D97-AF65-F5344CB8AC3E}">
        <p14:creationId xmlns:p14="http://schemas.microsoft.com/office/powerpoint/2010/main" val="4749147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1"/>
            <a:ext cx="77724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1"/>
            <a:ext cx="64008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FE63D7-5B4A-40A4-8FD4-EA63D1010EB7}" type="datetime1">
              <a:rPr lang="pt-BR" smtClean="0"/>
              <a:t>11/09/2023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646462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956888" y="1834008"/>
            <a:ext cx="7230222" cy="3691467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719147-5557-4D76-A2C3-BF25882771D2}" type="datetime1">
              <a:rPr lang="pt-BR" smtClean="0"/>
              <a:t>11/09/2023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53657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9144000" h="5143500">
                <a:moveTo>
                  <a:pt x="0" y="0"/>
                </a:moveTo>
                <a:lnTo>
                  <a:pt x="9143999" y="0"/>
                </a:lnTo>
                <a:lnTo>
                  <a:pt x="9143999" y="5143499"/>
                </a:lnTo>
                <a:lnTo>
                  <a:pt x="0" y="5143499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93476" y="1800417"/>
            <a:ext cx="380174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608275" y="1800417"/>
            <a:ext cx="402272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250340-7104-44A8-88A9-88532CCE9C1C}" type="datetime1">
              <a:rPr lang="pt-BR" smtClean="0"/>
              <a:t>11/09/2023</a:t>
            </a:fld>
            <a:endParaRPr lang="en-US" dirty="0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133362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47EA32-7810-48BE-A9BB-EA3D8AA5AD34}" type="datetime1">
              <a:rPr lang="pt-BR" smtClean="0"/>
              <a:t>11/09/2023</a:t>
            </a:fld>
            <a:endParaRPr lang="en-US" dirty="0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2765027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28E9E9-B91F-400E-BE43-87BB4B5C6F4E}" type="datetime1">
              <a:rPr lang="pt-BR" smtClean="0"/>
              <a:t>11/09/2023</a:t>
            </a:fld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048628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9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A9E773EA-BFD5-41D4-8CCD-2C9F67DAB481}" type="datetime1">
              <a:rPr lang="pt-BR" smtClean="0"/>
              <a:t>11/09/2023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CF973526-B948-4FC3-A3E9-C3059ABF8362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047646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028F8DB-4BFC-C27B-95E9-DF259529D5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8B1C91E0-FF65-7379-0A85-203A6688B8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5C3C6F8-0743-A277-3801-86C8CD44FC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7C8B6-CF57-4A95-AF6C-A77E6C230ED3}" type="datetime1">
              <a:rPr lang="pt-BR" smtClean="0"/>
              <a:t>11/09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BA1E6577-222D-2179-BA05-00B4C717F8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225878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+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78938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CE410D6-C8DC-901D-7FD5-DCD23B872F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DEE404F0-B42A-5F6B-47AB-77B51F85CE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E90AB31-2857-01B1-816A-929E4100F7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D50989-24C8-4023-9B0D-A6D249548FD9}" type="datetime1">
              <a:rPr lang="pt-BR" smtClean="0"/>
              <a:t>11/09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374D29E-A6A5-6CEC-3CBA-E804CA4574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89605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BD71CD7-47BB-DBF2-5A89-38D337CD10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508DD532-9B14-D558-3496-5F85A239ECE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822964AC-1D50-5342-4AD9-CF4A7C324D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49D74AA2-F851-8F8B-3E0F-A7AA25475F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9BC96A-9776-4585-A439-BC9E2DA226C1}" type="datetime1">
              <a:rPr lang="pt-BR" smtClean="0"/>
              <a:t>11/09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C5BF9B63-A1C5-EDA1-7D82-71ADB98F05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91473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6222608-86B5-FD3C-BAAF-9D0FFCC579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F7845CF9-729C-FDAD-947C-75DF6CCC56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FFD4DBAB-89B4-8D7A-FAA7-5F78E2AEE4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9F1325C0-FEC8-144F-2860-660D11E6282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6A429DD8-6C80-F443-4A47-F051496C42C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526DCCCE-64BE-65DD-678A-3D5CFBFD8C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12BE36-2922-4567-BD67-201EFA21BF6D}" type="datetime1">
              <a:rPr lang="pt-BR" smtClean="0"/>
              <a:t>11/09/2023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5BEBF7CB-82C8-0901-57BD-348BE3B4C4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274025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7614D30-D5C9-02EE-6036-F2944F34C3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FFCEB696-0BCC-C487-025E-427827E1C2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B462A9-4B1E-4013-BFB1-FC92225AC2F2}" type="datetime1">
              <a:rPr lang="pt-BR" smtClean="0"/>
              <a:t>11/09/2023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D668A590-A783-C45C-9CAB-CF65966E15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397152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73707019-9871-ECAE-B1F2-5C576FB510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E6EC7A-67E7-4978-9BAE-C8F82A40B13B}" type="datetime1">
              <a:rPr lang="pt-BR" smtClean="0"/>
              <a:t>11/09/2023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8BC33DF0-4FA4-2244-DF0B-C07F4393E7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798628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7E52987-1598-C408-632B-C1F899BF0D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575A4E3-B041-7DA8-FE56-EAB90F8984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D00238CE-64B4-EAF3-613E-0E9648F10C6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24D8C9F7-077D-8E57-6886-638B4098D8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085A4E-80B8-47DD-9D9B-8E1B205CBB30}" type="datetime1">
              <a:rPr lang="pt-BR" smtClean="0"/>
              <a:t>11/09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27537BC-370C-9886-C056-C5C92C8E5E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847369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33AAF15-8A6E-B125-F4EF-86E5730DE8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6CDBF1DF-3904-D04A-5880-ABA7C7A93D5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51602EE0-BB41-4BE7-015E-B7A274588E8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8187720A-2C76-D086-3DA8-BEB7E1FF4D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E9A02C-D9AD-4B8C-9B93-B0980E8E86EB}" type="datetime1">
              <a:rPr lang="pt-BR" smtClean="0"/>
              <a:t>11/09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EF695283-F022-01DD-66A6-636B27C772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44630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800E7B77-23AE-E419-BDAC-01319A2B7D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40896000-103C-CF5B-6F3E-A929FC1A2C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075BF3A-4999-F5AE-0968-C152D038E6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2762D0-3A59-4B14-83BA-8E0FC8A60AB1}" type="datetime1">
              <a:rPr lang="pt-BR" smtClean="0"/>
              <a:t>11/09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5F41B95A-F9F4-5C51-B984-BA4D32A90F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pic>
        <p:nvPicPr>
          <p:cNvPr id="7" name="Picture 16">
            <a:extLst>
              <a:ext uri="{FF2B5EF4-FFF2-40B4-BE49-F238E27FC236}">
                <a16:creationId xmlns:a16="http://schemas.microsoft.com/office/drawing/2014/main" id="{8A0A733A-2FB3-CDE1-495E-B932F4AA77D5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/>
          <a:stretch>
            <a:fillRect/>
          </a:stretch>
        </p:blipFill>
        <p:spPr>
          <a:xfrm>
            <a:off x="7829017" y="329329"/>
            <a:ext cx="997107" cy="272893"/>
          </a:xfrm>
          <a:prstGeom prst="rect">
            <a:avLst/>
          </a:prstGeom>
        </p:spPr>
      </p:pic>
      <p:sp>
        <p:nvSpPr>
          <p:cNvPr id="8" name="Rectangle 13">
            <a:extLst>
              <a:ext uri="{FF2B5EF4-FFF2-40B4-BE49-F238E27FC236}">
                <a16:creationId xmlns:a16="http://schemas.microsoft.com/office/drawing/2014/main" id="{8F3A294C-1A0B-E930-21AE-3E6E21ADE64F}"/>
              </a:ext>
            </a:extLst>
          </p:cNvPr>
          <p:cNvSpPr/>
          <p:nvPr userDrawn="1"/>
        </p:nvSpPr>
        <p:spPr>
          <a:xfrm>
            <a:off x="8354334" y="6165304"/>
            <a:ext cx="789666" cy="410186"/>
          </a:xfrm>
          <a:prstGeom prst="rect">
            <a:avLst/>
          </a:prstGeom>
          <a:solidFill>
            <a:srgbClr val="F0265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CDC200F1-90C5-466D-872D-66C0CA0CF328}" type="slidenum">
              <a:rPr lang="pt-BR" smtClean="0"/>
              <a:pPr/>
              <a:t>‹nº›</a:t>
            </a:fld>
            <a:endParaRPr lang="en-US" dirty="0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84478587-7D14-8988-4815-A66980D5D058}"/>
              </a:ext>
            </a:extLst>
          </p:cNvPr>
          <p:cNvSpPr/>
          <p:nvPr userDrawn="1"/>
        </p:nvSpPr>
        <p:spPr>
          <a:xfrm>
            <a:off x="0" y="6525344"/>
            <a:ext cx="2445026" cy="327285"/>
          </a:xfrm>
          <a:prstGeom prst="rect">
            <a:avLst/>
          </a:prstGeom>
          <a:solidFill>
            <a:srgbClr val="F0265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59906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  <p:sldLayoutId id="2147483719" r:id="rId12"/>
    <p:sldLayoutId id="2147483720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6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2"/>
            <a:ext cx="9144000" cy="6864351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0475" t="-31201" b="-62954"/>
          <a:stretch/>
        </p:blipFill>
        <p:spPr>
          <a:xfrm>
            <a:off x="8382001" y="279400"/>
            <a:ext cx="533399" cy="304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07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</p:sldLayoutIdLst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0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>
            <a:extLst>
              <a:ext uri="{FF2B5EF4-FFF2-40B4-BE49-F238E27FC236}">
                <a16:creationId xmlns:a16="http://schemas.microsoft.com/office/drawing/2014/main" id="{99E2FC07-A5E7-004D-AF47-CA34106B58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6200" y="837363"/>
            <a:ext cx="9135541" cy="5138742"/>
          </a:xfrm>
          <a:prstGeom prst="rect">
            <a:avLst/>
          </a:prstGeom>
        </p:spPr>
      </p:pic>
      <p:pic>
        <p:nvPicPr>
          <p:cNvPr id="7" name="Imagem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69542" y="2997941"/>
            <a:ext cx="3204916" cy="862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7679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Bibliográfia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A7BE0070-EA4B-7AC3-A077-DFC3A66F6F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6024" y="1572056"/>
            <a:ext cx="8532440" cy="4000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455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7">
            <a:extLst>
              <a:ext uri="{FF2B5EF4-FFF2-40B4-BE49-F238E27FC236}">
                <a16:creationId xmlns:a16="http://schemas.microsoft.com/office/drawing/2014/main" id="{E188DB65-9498-C38F-6493-0EE38DB056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>
                <a:effectLst/>
                <a:latin typeface="Arial" panose="020B0604020202020204" pitchFamily="34" charset="0"/>
              </a:rPr>
              <a:t>Copyright © 2023 Prof. </a:t>
            </a:r>
            <a:r>
              <a:rPr lang="pt-BR" b="1" dirty="0"/>
              <a:t>Airton Y. C. </a:t>
            </a:r>
            <a:r>
              <a:rPr lang="pt-BR" b="1" dirty="0" err="1"/>
              <a:t>Toyofuku</a:t>
            </a:r>
            <a:endParaRPr lang="pt-BR" b="1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961A5CC8-8B6C-915A-2707-2E93B7B749E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1200" kern="1200">
                <a:solidFill>
                  <a:srgbClr val="1A1C1E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F951EF7-2A75-44A0-8045-6A6595E5FF16}" type="slidenum">
              <a:rPr lang="pt-BR" smtClean="0"/>
              <a:pPr/>
              <a:t>1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483113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597070" y="1525840"/>
            <a:ext cx="597600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ngenharia de Software</a:t>
            </a:r>
            <a:endParaRPr lang="en-US" sz="3497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  <a:p>
            <a:pPr algn="ctr"/>
            <a:r>
              <a:rPr lang="pt-BR" sz="2000" cap="all" dirty="0">
                <a:solidFill>
                  <a:srgbClr val="91A3AD"/>
                </a:solidFill>
                <a:latin typeface="Gotham HTF Light"/>
              </a:rPr>
              <a:t>Edge </a:t>
            </a:r>
            <a:r>
              <a:rPr lang="pt-BR" sz="2000" cap="all" dirty="0" err="1">
                <a:solidFill>
                  <a:srgbClr val="91A3AD"/>
                </a:solidFill>
                <a:latin typeface="Gotham HTF Light"/>
              </a:rPr>
              <a:t>computing</a:t>
            </a:r>
            <a:r>
              <a:rPr lang="pt-BR" sz="2000" cap="all" dirty="0">
                <a:solidFill>
                  <a:srgbClr val="91A3AD"/>
                </a:solidFill>
                <a:latin typeface="Gotham HTF Light"/>
              </a:rPr>
              <a:t> &amp; </a:t>
            </a:r>
            <a:r>
              <a:rPr lang="pt-BR" sz="2000" cap="all" dirty="0" err="1">
                <a:solidFill>
                  <a:srgbClr val="91A3AD"/>
                </a:solidFill>
                <a:latin typeface="Gotham HTF Light"/>
              </a:rPr>
              <a:t>computer</a:t>
            </a:r>
            <a:r>
              <a:rPr lang="pt-BR" sz="2000" cap="all" dirty="0">
                <a:solidFill>
                  <a:srgbClr val="91A3AD"/>
                </a:solidFill>
                <a:latin typeface="Gotham HTF Light"/>
              </a:rPr>
              <a:t> systems </a:t>
            </a:r>
          </a:p>
          <a:p>
            <a:pPr algn="ctr"/>
            <a:endParaRPr lang="en-US" sz="2000" dirty="0">
              <a:solidFill>
                <a:srgbClr val="91A3AD"/>
              </a:solidFill>
              <a:latin typeface="Gotham HTF Light"/>
              <a:cs typeface="Gotham HTF Light"/>
            </a:endParaRPr>
          </a:p>
        </p:txBody>
      </p:sp>
      <p:pic>
        <p:nvPicPr>
          <p:cNvPr id="6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3471" y="1031740"/>
            <a:ext cx="2044892" cy="2397260"/>
          </a:xfrm>
          <a:prstGeom prst="rect">
            <a:avLst/>
          </a:prstGeom>
        </p:spPr>
      </p:pic>
      <p:pic>
        <p:nvPicPr>
          <p:cNvPr id="11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61784" y="3429000"/>
            <a:ext cx="2018746" cy="2397260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FF2D797C-9004-4E71-9A05-AEC533C3C543}"/>
              </a:ext>
            </a:extLst>
          </p:cNvPr>
          <p:cNvSpPr txBox="1"/>
          <p:nvPr/>
        </p:nvSpPr>
        <p:spPr>
          <a:xfrm>
            <a:off x="1683010" y="3105835"/>
            <a:ext cx="5777981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3600" dirty="0">
                <a:solidFill>
                  <a:srgbClr val="ED265B"/>
                </a:solidFill>
                <a:latin typeface="Gotham HTF Medium"/>
              </a:rPr>
              <a:t>00 - Aula Magna e Orientações</a:t>
            </a:r>
          </a:p>
        </p:txBody>
      </p:sp>
      <p:grpSp>
        <p:nvGrpSpPr>
          <p:cNvPr id="22" name="Agrupar 21">
            <a:extLst>
              <a:ext uri="{FF2B5EF4-FFF2-40B4-BE49-F238E27FC236}">
                <a16:creationId xmlns:a16="http://schemas.microsoft.com/office/drawing/2014/main" id="{75573A3E-34DC-2775-9C00-D54B073E771D}"/>
              </a:ext>
            </a:extLst>
          </p:cNvPr>
          <p:cNvGrpSpPr/>
          <p:nvPr/>
        </p:nvGrpSpPr>
        <p:grpSpPr>
          <a:xfrm>
            <a:off x="179512" y="5949280"/>
            <a:ext cx="5022312" cy="751853"/>
            <a:chOff x="1763688" y="4386590"/>
            <a:chExt cx="5022312" cy="751853"/>
          </a:xfrm>
        </p:grpSpPr>
        <p:sp>
          <p:nvSpPr>
            <p:cNvPr id="15" name="CaixaDeTexto 14">
              <a:extLst>
                <a:ext uri="{FF2B5EF4-FFF2-40B4-BE49-F238E27FC236}">
                  <a16:creationId xmlns:a16="http://schemas.microsoft.com/office/drawing/2014/main" id="{0E2E8EB7-77AA-4756-81C3-EA2F018D5F9F}"/>
                </a:ext>
              </a:extLst>
            </p:cNvPr>
            <p:cNvSpPr txBox="1"/>
            <p:nvPr/>
          </p:nvSpPr>
          <p:spPr>
            <a:xfrm>
              <a:off x="2192643" y="4386590"/>
              <a:ext cx="4593357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600" dirty="0">
                  <a:solidFill>
                    <a:srgbClr val="91A3AD"/>
                  </a:solidFill>
                  <a:latin typeface="Gotham HTF Light"/>
                  <a:cs typeface="Gotham HTF Light"/>
                </a:rPr>
                <a:t>Prof. Airton Y. C. </a:t>
              </a:r>
              <a:r>
                <a:rPr lang="en-US" sz="1600" dirty="0" err="1">
                  <a:solidFill>
                    <a:srgbClr val="91A3AD"/>
                  </a:solidFill>
                  <a:latin typeface="Gotham HTF Light"/>
                  <a:cs typeface="Gotham HTF Light"/>
                </a:rPr>
                <a:t>Toyofuku</a:t>
              </a:r>
              <a:r>
                <a:rPr lang="en-US" sz="1600" dirty="0">
                  <a:solidFill>
                    <a:srgbClr val="91A3AD"/>
                  </a:solidFill>
                  <a:latin typeface="Gotham HTF Light"/>
                  <a:cs typeface="Gotham HTF Light"/>
                </a:rPr>
                <a:t> </a:t>
              </a:r>
            </a:p>
          </p:txBody>
        </p:sp>
        <p:grpSp>
          <p:nvGrpSpPr>
            <p:cNvPr id="14" name="Google Shape;1218;p37">
              <a:extLst>
                <a:ext uri="{FF2B5EF4-FFF2-40B4-BE49-F238E27FC236}">
                  <a16:creationId xmlns:a16="http://schemas.microsoft.com/office/drawing/2014/main" id="{DD3164F3-E3ED-EBFB-6D27-687ADBCEA5D0}"/>
                </a:ext>
              </a:extLst>
            </p:cNvPr>
            <p:cNvGrpSpPr/>
            <p:nvPr/>
          </p:nvGrpSpPr>
          <p:grpSpPr>
            <a:xfrm>
              <a:off x="1763688" y="4837124"/>
              <a:ext cx="391001" cy="264085"/>
              <a:chOff x="564675" y="1700625"/>
              <a:chExt cx="465200" cy="314200"/>
            </a:xfrm>
          </p:grpSpPr>
          <p:sp>
            <p:nvSpPr>
              <p:cNvPr id="16" name="Google Shape;1219;p37">
                <a:extLst>
                  <a:ext uri="{FF2B5EF4-FFF2-40B4-BE49-F238E27FC236}">
                    <a16:creationId xmlns:a16="http://schemas.microsoft.com/office/drawing/2014/main" id="{A3D4D6E7-45A3-AEEE-E2C9-EC73E22D5F2F}"/>
                  </a:ext>
                </a:extLst>
              </p:cNvPr>
              <p:cNvSpPr/>
              <p:nvPr/>
            </p:nvSpPr>
            <p:spPr>
              <a:xfrm>
                <a:off x="564675" y="1700625"/>
                <a:ext cx="465200" cy="29250"/>
              </a:xfrm>
              <a:custGeom>
                <a:avLst/>
                <a:gdLst/>
                <a:ahLst/>
                <a:cxnLst/>
                <a:rect l="l" t="t" r="r" b="b"/>
                <a:pathLst>
                  <a:path w="18608" h="1170" fill="none" extrusionOk="0">
                    <a:moveTo>
                      <a:pt x="18608" y="1170"/>
                    </a:moveTo>
                    <a:lnTo>
                      <a:pt x="18608" y="488"/>
                    </a:lnTo>
                    <a:lnTo>
                      <a:pt x="18608" y="488"/>
                    </a:lnTo>
                    <a:lnTo>
                      <a:pt x="18608" y="390"/>
                    </a:lnTo>
                    <a:lnTo>
                      <a:pt x="18559" y="293"/>
                    </a:lnTo>
                    <a:lnTo>
                      <a:pt x="18535" y="220"/>
                    </a:lnTo>
                    <a:lnTo>
                      <a:pt x="18462" y="147"/>
                    </a:lnTo>
                    <a:lnTo>
                      <a:pt x="18389" y="74"/>
                    </a:lnTo>
                    <a:lnTo>
                      <a:pt x="18316" y="49"/>
                    </a:lnTo>
                    <a:lnTo>
                      <a:pt x="18218" y="1"/>
                    </a:lnTo>
                    <a:lnTo>
                      <a:pt x="18121" y="1"/>
                    </a:lnTo>
                    <a:lnTo>
                      <a:pt x="488" y="1"/>
                    </a:lnTo>
                    <a:lnTo>
                      <a:pt x="488" y="1"/>
                    </a:lnTo>
                    <a:lnTo>
                      <a:pt x="390" y="1"/>
                    </a:lnTo>
                    <a:lnTo>
                      <a:pt x="293" y="49"/>
                    </a:lnTo>
                    <a:lnTo>
                      <a:pt x="220" y="74"/>
                    </a:lnTo>
                    <a:lnTo>
                      <a:pt x="147" y="147"/>
                    </a:lnTo>
                    <a:lnTo>
                      <a:pt x="74" y="220"/>
                    </a:lnTo>
                    <a:lnTo>
                      <a:pt x="49" y="293"/>
                    </a:lnTo>
                    <a:lnTo>
                      <a:pt x="1" y="390"/>
                    </a:lnTo>
                    <a:lnTo>
                      <a:pt x="1" y="488"/>
                    </a:lnTo>
                    <a:lnTo>
                      <a:pt x="1" y="1170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" name="Google Shape;1220;p37">
                <a:extLst>
                  <a:ext uri="{FF2B5EF4-FFF2-40B4-BE49-F238E27FC236}">
                    <a16:creationId xmlns:a16="http://schemas.microsoft.com/office/drawing/2014/main" id="{8EE44E1A-7E42-86CA-6455-F362B2748903}"/>
                  </a:ext>
                </a:extLst>
              </p:cNvPr>
              <p:cNvSpPr/>
              <p:nvPr/>
            </p:nvSpPr>
            <p:spPr>
              <a:xfrm>
                <a:off x="564675" y="1732300"/>
                <a:ext cx="465200" cy="272175"/>
              </a:xfrm>
              <a:custGeom>
                <a:avLst/>
                <a:gdLst/>
                <a:ahLst/>
                <a:cxnLst/>
                <a:rect l="l" t="t" r="r" b="b"/>
                <a:pathLst>
                  <a:path w="18608" h="10887" fill="none" extrusionOk="0">
                    <a:moveTo>
                      <a:pt x="13493" y="7209"/>
                    </a:moveTo>
                    <a:lnTo>
                      <a:pt x="18608" y="10887"/>
                    </a:lnTo>
                    <a:lnTo>
                      <a:pt x="18608" y="10887"/>
                    </a:lnTo>
                    <a:lnTo>
                      <a:pt x="18608" y="10814"/>
                    </a:lnTo>
                    <a:lnTo>
                      <a:pt x="18608" y="0"/>
                    </a:lnTo>
                    <a:lnTo>
                      <a:pt x="9450" y="6625"/>
                    </a:lnTo>
                    <a:lnTo>
                      <a:pt x="9450" y="6625"/>
                    </a:lnTo>
                    <a:lnTo>
                      <a:pt x="9377" y="6673"/>
                    </a:lnTo>
                    <a:lnTo>
                      <a:pt x="9304" y="6673"/>
                    </a:lnTo>
                    <a:lnTo>
                      <a:pt x="9304" y="6673"/>
                    </a:lnTo>
                    <a:lnTo>
                      <a:pt x="9231" y="6673"/>
                    </a:lnTo>
                    <a:lnTo>
                      <a:pt x="9158" y="6625"/>
                    </a:lnTo>
                    <a:lnTo>
                      <a:pt x="1" y="0"/>
                    </a:lnTo>
                    <a:lnTo>
                      <a:pt x="1" y="10814"/>
                    </a:lnTo>
                    <a:lnTo>
                      <a:pt x="1" y="10814"/>
                    </a:lnTo>
                    <a:lnTo>
                      <a:pt x="1" y="10887"/>
                    </a:lnTo>
                    <a:lnTo>
                      <a:pt x="5115" y="7209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8" name="Google Shape;1221;p37">
                <a:extLst>
                  <a:ext uri="{FF2B5EF4-FFF2-40B4-BE49-F238E27FC236}">
                    <a16:creationId xmlns:a16="http://schemas.microsoft.com/office/drawing/2014/main" id="{3DB42376-FC85-5E3A-31CB-A81EF80C7D97}"/>
                  </a:ext>
                </a:extLst>
              </p:cNvPr>
              <p:cNvSpPr/>
              <p:nvPr/>
            </p:nvSpPr>
            <p:spPr>
              <a:xfrm>
                <a:off x="572600" y="2014200"/>
                <a:ext cx="449375" cy="625"/>
              </a:xfrm>
              <a:custGeom>
                <a:avLst/>
                <a:gdLst/>
                <a:ahLst/>
                <a:cxnLst/>
                <a:rect l="l" t="t" r="r" b="b"/>
                <a:pathLst>
                  <a:path w="17975" h="25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98" y="25"/>
                    </a:lnTo>
                    <a:lnTo>
                      <a:pt x="171" y="25"/>
                    </a:lnTo>
                    <a:lnTo>
                      <a:pt x="17804" y="25"/>
                    </a:lnTo>
                    <a:lnTo>
                      <a:pt x="17804" y="25"/>
                    </a:lnTo>
                    <a:lnTo>
                      <a:pt x="17877" y="25"/>
                    </a:lnTo>
                    <a:lnTo>
                      <a:pt x="17974" y="0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20" name="CaixaDeTexto 19">
              <a:extLst>
                <a:ext uri="{FF2B5EF4-FFF2-40B4-BE49-F238E27FC236}">
                  <a16:creationId xmlns:a16="http://schemas.microsoft.com/office/drawing/2014/main" id="{B5FDBB35-A9D5-B68D-A845-F38B00DEBA44}"/>
                </a:ext>
              </a:extLst>
            </p:cNvPr>
            <p:cNvSpPr txBox="1"/>
            <p:nvPr/>
          </p:nvSpPr>
          <p:spPr>
            <a:xfrm>
              <a:off x="2192643" y="4799889"/>
              <a:ext cx="3335601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600" dirty="0">
                  <a:solidFill>
                    <a:srgbClr val="91A3AD"/>
                  </a:solidFill>
                  <a:latin typeface="Gotham HTF Light"/>
                  <a:cs typeface="Gotham HTF Light"/>
                </a:rPr>
                <a:t>profairton.toyofuku@fiap.com.br</a:t>
              </a:r>
              <a:endParaRPr lang="pt-BR" sz="1600" dirty="0"/>
            </a:p>
          </p:txBody>
        </p:sp>
        <p:sp>
          <p:nvSpPr>
            <p:cNvPr id="21" name="Google Shape;1302;p37">
              <a:extLst>
                <a:ext uri="{FF2B5EF4-FFF2-40B4-BE49-F238E27FC236}">
                  <a16:creationId xmlns:a16="http://schemas.microsoft.com/office/drawing/2014/main" id="{DA865BD1-6404-C499-D9F8-D66F3D87DC36}"/>
                </a:ext>
              </a:extLst>
            </p:cNvPr>
            <p:cNvSpPr/>
            <p:nvPr/>
          </p:nvSpPr>
          <p:spPr>
            <a:xfrm>
              <a:off x="1798999" y="4386979"/>
              <a:ext cx="320378" cy="337776"/>
            </a:xfrm>
            <a:custGeom>
              <a:avLst/>
              <a:gdLst/>
              <a:ahLst/>
              <a:cxnLst/>
              <a:rect l="l" t="t" r="r" b="b"/>
              <a:pathLst>
                <a:path w="15247" h="16075" fill="none" extrusionOk="0">
                  <a:moveTo>
                    <a:pt x="9401" y="10717"/>
                  </a:moveTo>
                  <a:lnTo>
                    <a:pt x="9401" y="10717"/>
                  </a:lnTo>
                  <a:lnTo>
                    <a:pt x="9085" y="10692"/>
                  </a:lnTo>
                  <a:lnTo>
                    <a:pt x="9085" y="9596"/>
                  </a:lnTo>
                  <a:lnTo>
                    <a:pt x="9085" y="9596"/>
                  </a:lnTo>
                  <a:lnTo>
                    <a:pt x="9401" y="9377"/>
                  </a:lnTo>
                  <a:lnTo>
                    <a:pt x="9718" y="9133"/>
                  </a:lnTo>
                  <a:lnTo>
                    <a:pt x="10010" y="8866"/>
                  </a:lnTo>
                  <a:lnTo>
                    <a:pt x="10302" y="8573"/>
                  </a:lnTo>
                  <a:lnTo>
                    <a:pt x="10546" y="8232"/>
                  </a:lnTo>
                  <a:lnTo>
                    <a:pt x="10765" y="7867"/>
                  </a:lnTo>
                  <a:lnTo>
                    <a:pt x="10984" y="7502"/>
                  </a:lnTo>
                  <a:lnTo>
                    <a:pt x="11155" y="7088"/>
                  </a:lnTo>
                  <a:lnTo>
                    <a:pt x="11155" y="7088"/>
                  </a:lnTo>
                  <a:lnTo>
                    <a:pt x="11228" y="7112"/>
                  </a:lnTo>
                  <a:lnTo>
                    <a:pt x="11228" y="7112"/>
                  </a:lnTo>
                  <a:lnTo>
                    <a:pt x="11374" y="7112"/>
                  </a:lnTo>
                  <a:lnTo>
                    <a:pt x="11496" y="7039"/>
                  </a:lnTo>
                  <a:lnTo>
                    <a:pt x="11617" y="6942"/>
                  </a:lnTo>
                  <a:lnTo>
                    <a:pt x="11715" y="6771"/>
                  </a:lnTo>
                  <a:lnTo>
                    <a:pt x="11812" y="6601"/>
                  </a:lnTo>
                  <a:lnTo>
                    <a:pt x="11910" y="6381"/>
                  </a:lnTo>
                  <a:lnTo>
                    <a:pt x="11958" y="6138"/>
                  </a:lnTo>
                  <a:lnTo>
                    <a:pt x="12007" y="5870"/>
                  </a:lnTo>
                  <a:lnTo>
                    <a:pt x="12007" y="5870"/>
                  </a:lnTo>
                  <a:lnTo>
                    <a:pt x="12031" y="5626"/>
                  </a:lnTo>
                  <a:lnTo>
                    <a:pt x="12007" y="5383"/>
                  </a:lnTo>
                  <a:lnTo>
                    <a:pt x="11983" y="5188"/>
                  </a:lnTo>
                  <a:lnTo>
                    <a:pt x="11934" y="4993"/>
                  </a:lnTo>
                  <a:lnTo>
                    <a:pt x="11885" y="4823"/>
                  </a:lnTo>
                  <a:lnTo>
                    <a:pt x="11812" y="4677"/>
                  </a:lnTo>
                  <a:lnTo>
                    <a:pt x="11715" y="4579"/>
                  </a:lnTo>
                  <a:lnTo>
                    <a:pt x="11593" y="4506"/>
                  </a:lnTo>
                  <a:lnTo>
                    <a:pt x="11593" y="4506"/>
                  </a:lnTo>
                  <a:lnTo>
                    <a:pt x="11666" y="4141"/>
                  </a:lnTo>
                  <a:lnTo>
                    <a:pt x="11690" y="3800"/>
                  </a:lnTo>
                  <a:lnTo>
                    <a:pt x="11690" y="3483"/>
                  </a:lnTo>
                  <a:lnTo>
                    <a:pt x="11690" y="3191"/>
                  </a:lnTo>
                  <a:lnTo>
                    <a:pt x="11666" y="2899"/>
                  </a:lnTo>
                  <a:lnTo>
                    <a:pt x="11617" y="2631"/>
                  </a:lnTo>
                  <a:lnTo>
                    <a:pt x="11544" y="2387"/>
                  </a:lnTo>
                  <a:lnTo>
                    <a:pt x="11471" y="2144"/>
                  </a:lnTo>
                  <a:lnTo>
                    <a:pt x="11374" y="1924"/>
                  </a:lnTo>
                  <a:lnTo>
                    <a:pt x="11276" y="1705"/>
                  </a:lnTo>
                  <a:lnTo>
                    <a:pt x="11155" y="1510"/>
                  </a:lnTo>
                  <a:lnTo>
                    <a:pt x="11009" y="1340"/>
                  </a:lnTo>
                  <a:lnTo>
                    <a:pt x="10862" y="1169"/>
                  </a:lnTo>
                  <a:lnTo>
                    <a:pt x="10716" y="1023"/>
                  </a:lnTo>
                  <a:lnTo>
                    <a:pt x="10400" y="755"/>
                  </a:lnTo>
                  <a:lnTo>
                    <a:pt x="10034" y="561"/>
                  </a:lnTo>
                  <a:lnTo>
                    <a:pt x="9669" y="366"/>
                  </a:lnTo>
                  <a:lnTo>
                    <a:pt x="9304" y="244"/>
                  </a:lnTo>
                  <a:lnTo>
                    <a:pt x="8938" y="146"/>
                  </a:lnTo>
                  <a:lnTo>
                    <a:pt x="8573" y="73"/>
                  </a:lnTo>
                  <a:lnTo>
                    <a:pt x="8232" y="25"/>
                  </a:lnTo>
                  <a:lnTo>
                    <a:pt x="7915" y="0"/>
                  </a:lnTo>
                  <a:lnTo>
                    <a:pt x="7623" y="0"/>
                  </a:lnTo>
                  <a:lnTo>
                    <a:pt x="7623" y="0"/>
                  </a:lnTo>
                  <a:lnTo>
                    <a:pt x="7282" y="25"/>
                  </a:lnTo>
                  <a:lnTo>
                    <a:pt x="6990" y="98"/>
                  </a:lnTo>
                  <a:lnTo>
                    <a:pt x="6746" y="171"/>
                  </a:lnTo>
                  <a:lnTo>
                    <a:pt x="6527" y="293"/>
                  </a:lnTo>
                  <a:lnTo>
                    <a:pt x="6332" y="390"/>
                  </a:lnTo>
                  <a:lnTo>
                    <a:pt x="6186" y="536"/>
                  </a:lnTo>
                  <a:lnTo>
                    <a:pt x="6040" y="658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553" y="853"/>
                  </a:lnTo>
                  <a:lnTo>
                    <a:pt x="5188" y="975"/>
                  </a:lnTo>
                  <a:lnTo>
                    <a:pt x="4871" y="1145"/>
                  </a:lnTo>
                  <a:lnTo>
                    <a:pt x="4603" y="1316"/>
                  </a:lnTo>
                  <a:lnTo>
                    <a:pt x="4360" y="1535"/>
                  </a:lnTo>
                  <a:lnTo>
                    <a:pt x="4165" y="1754"/>
                  </a:lnTo>
                  <a:lnTo>
                    <a:pt x="4019" y="2022"/>
                  </a:lnTo>
                  <a:lnTo>
                    <a:pt x="3897" y="2290"/>
                  </a:lnTo>
                  <a:lnTo>
                    <a:pt x="3799" y="2558"/>
                  </a:lnTo>
                  <a:lnTo>
                    <a:pt x="3726" y="2826"/>
                  </a:lnTo>
                  <a:lnTo>
                    <a:pt x="3678" y="3118"/>
                  </a:lnTo>
                  <a:lnTo>
                    <a:pt x="3629" y="3410"/>
                  </a:lnTo>
                  <a:lnTo>
                    <a:pt x="3629" y="3702"/>
                  </a:lnTo>
                  <a:lnTo>
                    <a:pt x="3629" y="3970"/>
                  </a:lnTo>
                  <a:lnTo>
                    <a:pt x="3678" y="4482"/>
                  </a:lnTo>
                  <a:lnTo>
                    <a:pt x="3678" y="4482"/>
                  </a:lnTo>
                  <a:lnTo>
                    <a:pt x="3678" y="4506"/>
                  </a:lnTo>
                  <a:lnTo>
                    <a:pt x="3678" y="4506"/>
                  </a:lnTo>
                  <a:lnTo>
                    <a:pt x="3556" y="4555"/>
                  </a:lnTo>
                  <a:lnTo>
                    <a:pt x="3459" y="4652"/>
                  </a:lnTo>
                  <a:lnTo>
                    <a:pt x="3385" y="4798"/>
                  </a:lnTo>
                  <a:lnTo>
                    <a:pt x="3312" y="4969"/>
                  </a:lnTo>
                  <a:lnTo>
                    <a:pt x="3264" y="5164"/>
                  </a:lnTo>
                  <a:lnTo>
                    <a:pt x="3239" y="5383"/>
                  </a:lnTo>
                  <a:lnTo>
                    <a:pt x="3215" y="5626"/>
                  </a:lnTo>
                  <a:lnTo>
                    <a:pt x="3239" y="5870"/>
                  </a:lnTo>
                  <a:lnTo>
                    <a:pt x="3239" y="5870"/>
                  </a:lnTo>
                  <a:lnTo>
                    <a:pt x="3288" y="6138"/>
                  </a:lnTo>
                  <a:lnTo>
                    <a:pt x="3337" y="6381"/>
                  </a:lnTo>
                  <a:lnTo>
                    <a:pt x="3434" y="6601"/>
                  </a:lnTo>
                  <a:lnTo>
                    <a:pt x="3532" y="6771"/>
                  </a:lnTo>
                  <a:lnTo>
                    <a:pt x="3629" y="6942"/>
                  </a:lnTo>
                  <a:lnTo>
                    <a:pt x="3751" y="7039"/>
                  </a:lnTo>
                  <a:lnTo>
                    <a:pt x="3873" y="7112"/>
                  </a:lnTo>
                  <a:lnTo>
                    <a:pt x="4019" y="7112"/>
                  </a:lnTo>
                  <a:lnTo>
                    <a:pt x="4019" y="7112"/>
                  </a:lnTo>
                  <a:lnTo>
                    <a:pt x="4092" y="7088"/>
                  </a:lnTo>
                  <a:lnTo>
                    <a:pt x="4092" y="7088"/>
                  </a:lnTo>
                  <a:lnTo>
                    <a:pt x="4262" y="7502"/>
                  </a:lnTo>
                  <a:lnTo>
                    <a:pt x="4481" y="7867"/>
                  </a:lnTo>
                  <a:lnTo>
                    <a:pt x="4701" y="8232"/>
                  </a:lnTo>
                  <a:lnTo>
                    <a:pt x="4969" y="8573"/>
                  </a:lnTo>
                  <a:lnTo>
                    <a:pt x="5236" y="8866"/>
                  </a:lnTo>
                  <a:lnTo>
                    <a:pt x="5529" y="9133"/>
                  </a:lnTo>
                  <a:lnTo>
                    <a:pt x="5845" y="9377"/>
                  </a:lnTo>
                  <a:lnTo>
                    <a:pt x="6162" y="9596"/>
                  </a:lnTo>
                  <a:lnTo>
                    <a:pt x="6162" y="10668"/>
                  </a:lnTo>
                  <a:lnTo>
                    <a:pt x="6162" y="10668"/>
                  </a:lnTo>
                  <a:lnTo>
                    <a:pt x="5650" y="10717"/>
                  </a:lnTo>
                  <a:lnTo>
                    <a:pt x="5650" y="10717"/>
                  </a:lnTo>
                  <a:lnTo>
                    <a:pt x="5066" y="10814"/>
                  </a:lnTo>
                  <a:lnTo>
                    <a:pt x="4506" y="10936"/>
                  </a:lnTo>
                  <a:lnTo>
                    <a:pt x="3946" y="11058"/>
                  </a:lnTo>
                  <a:lnTo>
                    <a:pt x="3410" y="11228"/>
                  </a:lnTo>
                  <a:lnTo>
                    <a:pt x="2923" y="11423"/>
                  </a:lnTo>
                  <a:lnTo>
                    <a:pt x="2460" y="11642"/>
                  </a:lnTo>
                  <a:lnTo>
                    <a:pt x="2022" y="11886"/>
                  </a:lnTo>
                  <a:lnTo>
                    <a:pt x="1632" y="12153"/>
                  </a:lnTo>
                  <a:lnTo>
                    <a:pt x="1267" y="12421"/>
                  </a:lnTo>
                  <a:lnTo>
                    <a:pt x="950" y="12738"/>
                  </a:lnTo>
                  <a:lnTo>
                    <a:pt x="682" y="13079"/>
                  </a:lnTo>
                  <a:lnTo>
                    <a:pt x="439" y="13420"/>
                  </a:lnTo>
                  <a:lnTo>
                    <a:pt x="268" y="13810"/>
                  </a:lnTo>
                  <a:lnTo>
                    <a:pt x="122" y="14199"/>
                  </a:lnTo>
                  <a:lnTo>
                    <a:pt x="49" y="14638"/>
                  </a:lnTo>
                  <a:lnTo>
                    <a:pt x="0" y="15076"/>
                  </a:lnTo>
                  <a:lnTo>
                    <a:pt x="0" y="15076"/>
                  </a:lnTo>
                  <a:lnTo>
                    <a:pt x="49" y="15125"/>
                  </a:lnTo>
                  <a:lnTo>
                    <a:pt x="244" y="15222"/>
                  </a:lnTo>
                  <a:lnTo>
                    <a:pt x="414" y="15295"/>
                  </a:lnTo>
                  <a:lnTo>
                    <a:pt x="633" y="15393"/>
                  </a:lnTo>
                  <a:lnTo>
                    <a:pt x="901" y="15490"/>
                  </a:lnTo>
                  <a:lnTo>
                    <a:pt x="1267" y="15563"/>
                  </a:lnTo>
                  <a:lnTo>
                    <a:pt x="1705" y="15661"/>
                  </a:lnTo>
                  <a:lnTo>
                    <a:pt x="2216" y="15758"/>
                  </a:lnTo>
                  <a:lnTo>
                    <a:pt x="2825" y="15831"/>
                  </a:lnTo>
                  <a:lnTo>
                    <a:pt x="3556" y="15928"/>
                  </a:lnTo>
                  <a:lnTo>
                    <a:pt x="4384" y="15977"/>
                  </a:lnTo>
                  <a:lnTo>
                    <a:pt x="5309" y="16026"/>
                  </a:lnTo>
                  <a:lnTo>
                    <a:pt x="6381" y="16050"/>
                  </a:lnTo>
                  <a:lnTo>
                    <a:pt x="7599" y="16075"/>
                  </a:lnTo>
                  <a:lnTo>
                    <a:pt x="7599" y="16075"/>
                  </a:lnTo>
                  <a:lnTo>
                    <a:pt x="8792" y="16050"/>
                  </a:lnTo>
                  <a:lnTo>
                    <a:pt x="9864" y="16026"/>
                  </a:lnTo>
                  <a:lnTo>
                    <a:pt x="10814" y="15977"/>
                  </a:lnTo>
                  <a:lnTo>
                    <a:pt x="11642" y="15928"/>
                  </a:lnTo>
                  <a:lnTo>
                    <a:pt x="12372" y="15831"/>
                  </a:lnTo>
                  <a:lnTo>
                    <a:pt x="12981" y="15758"/>
                  </a:lnTo>
                  <a:lnTo>
                    <a:pt x="13517" y="15661"/>
                  </a:lnTo>
                  <a:lnTo>
                    <a:pt x="13955" y="15563"/>
                  </a:lnTo>
                  <a:lnTo>
                    <a:pt x="14321" y="15490"/>
                  </a:lnTo>
                  <a:lnTo>
                    <a:pt x="14613" y="15393"/>
                  </a:lnTo>
                  <a:lnTo>
                    <a:pt x="14832" y="15295"/>
                  </a:lnTo>
                  <a:lnTo>
                    <a:pt x="15003" y="15222"/>
                  </a:lnTo>
                  <a:lnTo>
                    <a:pt x="15173" y="15125"/>
                  </a:lnTo>
                  <a:lnTo>
                    <a:pt x="15246" y="15076"/>
                  </a:lnTo>
                  <a:lnTo>
                    <a:pt x="15246" y="15076"/>
                  </a:lnTo>
                  <a:lnTo>
                    <a:pt x="15198" y="14613"/>
                  </a:lnTo>
                  <a:lnTo>
                    <a:pt x="15125" y="14175"/>
                  </a:lnTo>
                  <a:lnTo>
                    <a:pt x="15003" y="13761"/>
                  </a:lnTo>
                  <a:lnTo>
                    <a:pt x="14832" y="13371"/>
                  </a:lnTo>
                  <a:lnTo>
                    <a:pt x="14589" y="13006"/>
                  </a:lnTo>
                  <a:lnTo>
                    <a:pt x="14321" y="12665"/>
                  </a:lnTo>
                  <a:lnTo>
                    <a:pt x="14004" y="12373"/>
                  </a:lnTo>
                  <a:lnTo>
                    <a:pt x="13639" y="12080"/>
                  </a:lnTo>
                  <a:lnTo>
                    <a:pt x="13249" y="11813"/>
                  </a:lnTo>
                  <a:lnTo>
                    <a:pt x="12811" y="11593"/>
                  </a:lnTo>
                  <a:lnTo>
                    <a:pt x="12324" y="11374"/>
                  </a:lnTo>
                  <a:lnTo>
                    <a:pt x="11812" y="11204"/>
                  </a:lnTo>
                  <a:lnTo>
                    <a:pt x="11252" y="11033"/>
                  </a:lnTo>
                  <a:lnTo>
                    <a:pt x="10668" y="10911"/>
                  </a:lnTo>
                  <a:lnTo>
                    <a:pt x="10034" y="10790"/>
                  </a:lnTo>
                  <a:lnTo>
                    <a:pt x="9401" y="10717"/>
                  </a:lnTo>
                  <a:lnTo>
                    <a:pt x="9401" y="10717"/>
                  </a:lnTo>
                  <a:close/>
                </a:path>
              </a:pathLst>
            </a:custGeom>
            <a:noFill/>
            <a:ln w="12175" cap="rnd" cmpd="sng">
              <a:solidFill>
                <a:srgbClr val="ED145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894759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presentação</a:t>
            </a:r>
          </a:p>
        </p:txBody>
      </p:sp>
      <p:sp>
        <p:nvSpPr>
          <p:cNvPr id="4" name="Google Shape;73;p17">
            <a:extLst>
              <a:ext uri="{FF2B5EF4-FFF2-40B4-BE49-F238E27FC236}">
                <a16:creationId xmlns:a16="http://schemas.microsoft.com/office/drawing/2014/main" id="{3807D254-B9F5-DBB0-2E2C-76E6A9795D56}"/>
              </a:ext>
            </a:extLst>
          </p:cNvPr>
          <p:cNvSpPr txBox="1">
            <a:spLocks/>
          </p:cNvSpPr>
          <p:nvPr/>
        </p:nvSpPr>
        <p:spPr>
          <a:xfrm>
            <a:off x="311700" y="1321374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 fontScale="8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pt-BR"/>
              <a:t>Airton Toyofuku - Engenheiro, MBA, PMP®</a:t>
            </a:r>
          </a:p>
        </p:txBody>
      </p:sp>
      <p:sp>
        <p:nvSpPr>
          <p:cNvPr id="5" name="Google Shape;74;p17">
            <a:extLst>
              <a:ext uri="{FF2B5EF4-FFF2-40B4-BE49-F238E27FC236}">
                <a16:creationId xmlns:a16="http://schemas.microsoft.com/office/drawing/2014/main" id="{E084C21E-85A4-3F2E-4C50-B4363317EADA}"/>
              </a:ext>
            </a:extLst>
          </p:cNvPr>
          <p:cNvSpPr txBox="1">
            <a:spLocks/>
          </p:cNvSpPr>
          <p:nvPr/>
        </p:nvSpPr>
        <p:spPr>
          <a:xfrm>
            <a:off x="311700" y="2316856"/>
            <a:ext cx="8520600" cy="3416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319087">
              <a:lnSpc>
                <a:spcPct val="150000"/>
              </a:lnSpc>
              <a:spcBef>
                <a:spcPts val="0"/>
              </a:spcBef>
              <a:buSzPts val="1425"/>
              <a:buFont typeface="Arial" panose="020B0604020202020204" pitchFamily="34" charset="0"/>
              <a:buChar char="●"/>
            </a:pPr>
            <a:r>
              <a:rPr lang="pt-BR" sz="1400" dirty="0">
                <a:latin typeface="Gotham HTF"/>
              </a:rPr>
              <a:t>Gerente de Projetos, certificado pelo PMI®</a:t>
            </a:r>
          </a:p>
          <a:p>
            <a:pPr marL="457200" indent="-319087">
              <a:lnSpc>
                <a:spcPct val="150000"/>
              </a:lnSpc>
              <a:spcBef>
                <a:spcPts val="0"/>
              </a:spcBef>
              <a:buSzPts val="1425"/>
              <a:buFont typeface="Arial" panose="020B0604020202020204" pitchFamily="34" charset="0"/>
              <a:buChar char="●"/>
            </a:pPr>
            <a:r>
              <a:rPr lang="pt-BR" sz="1400" dirty="0">
                <a:latin typeface="Gotham HTF"/>
              </a:rPr>
              <a:t>Engenheiro Eletrônico </a:t>
            </a:r>
          </a:p>
          <a:p>
            <a:pPr marL="914400" lvl="1" indent="-303212">
              <a:lnSpc>
                <a:spcPct val="150000"/>
              </a:lnSpc>
              <a:spcBef>
                <a:spcPts val="0"/>
              </a:spcBef>
              <a:buSzPts val="1175"/>
              <a:buFont typeface="Arial" panose="020B0604020202020204" pitchFamily="34" charset="0"/>
              <a:buChar char="○"/>
            </a:pPr>
            <a:r>
              <a:rPr lang="pt-BR" sz="1200" dirty="0">
                <a:latin typeface="Gotham HTF"/>
              </a:rPr>
              <a:t>FEI de São Bernardo do Campo</a:t>
            </a:r>
          </a:p>
          <a:p>
            <a:pPr marL="457200" indent="-319087">
              <a:lnSpc>
                <a:spcPct val="150000"/>
              </a:lnSpc>
              <a:spcBef>
                <a:spcPts val="0"/>
              </a:spcBef>
              <a:buSzPts val="1425"/>
              <a:buFont typeface="Arial" panose="020B0604020202020204" pitchFamily="34" charset="0"/>
              <a:buChar char="●"/>
            </a:pPr>
            <a:r>
              <a:rPr lang="pt-BR" sz="1400" dirty="0">
                <a:latin typeface="Gotham HTF"/>
              </a:rPr>
              <a:t>Especialização em Sistemas de Controle e Automação</a:t>
            </a:r>
          </a:p>
          <a:p>
            <a:pPr marL="914400" lvl="1" indent="-303212">
              <a:lnSpc>
                <a:spcPct val="150000"/>
              </a:lnSpc>
              <a:spcBef>
                <a:spcPts val="0"/>
              </a:spcBef>
              <a:buSzPts val="1175"/>
              <a:buFont typeface="Arial" panose="020B0604020202020204" pitchFamily="34" charset="0"/>
              <a:buChar char="○"/>
            </a:pPr>
            <a:r>
              <a:rPr lang="pt-BR" sz="1200" dirty="0">
                <a:latin typeface="Gotham HTF"/>
              </a:rPr>
              <a:t>FEI de São Bernardo do Campo</a:t>
            </a:r>
          </a:p>
          <a:p>
            <a:pPr marL="457200" indent="-319087">
              <a:lnSpc>
                <a:spcPct val="150000"/>
              </a:lnSpc>
              <a:spcBef>
                <a:spcPts val="0"/>
              </a:spcBef>
              <a:buSzPts val="1425"/>
              <a:buFont typeface="Arial" panose="020B0604020202020204" pitchFamily="34" charset="0"/>
              <a:buChar char="●"/>
            </a:pPr>
            <a:r>
              <a:rPr lang="pt-BR" sz="1400" dirty="0">
                <a:latin typeface="Gotham HTF"/>
              </a:rPr>
              <a:t>Especialização em Sistemas Digitais e Eletrônica Embarcada</a:t>
            </a:r>
          </a:p>
          <a:p>
            <a:pPr marL="914400" lvl="1" indent="-303212">
              <a:lnSpc>
                <a:spcPct val="150000"/>
              </a:lnSpc>
              <a:spcBef>
                <a:spcPts val="0"/>
              </a:spcBef>
              <a:buSzPts val="1175"/>
              <a:buFont typeface="Arial" panose="020B0604020202020204" pitchFamily="34" charset="0"/>
              <a:buChar char="○"/>
            </a:pPr>
            <a:r>
              <a:rPr lang="pt-BR" sz="1200" dirty="0">
                <a:latin typeface="Gotham HTF"/>
              </a:rPr>
              <a:t>SAE Brasil - Sociedade de Engenheiros Automotivos</a:t>
            </a:r>
          </a:p>
          <a:p>
            <a:pPr marL="457200" indent="-319087">
              <a:lnSpc>
                <a:spcPct val="150000"/>
              </a:lnSpc>
              <a:spcBef>
                <a:spcPts val="0"/>
              </a:spcBef>
              <a:buSzPts val="1425"/>
              <a:buFont typeface="Arial" panose="020B0604020202020204" pitchFamily="34" charset="0"/>
              <a:buChar char="●"/>
            </a:pPr>
            <a:r>
              <a:rPr lang="pt-BR" sz="1400" dirty="0">
                <a:latin typeface="Gotham HTF"/>
              </a:rPr>
              <a:t>MBA em Gestão de Projetos</a:t>
            </a:r>
          </a:p>
          <a:p>
            <a:pPr marL="914400" lvl="1" indent="-303212">
              <a:lnSpc>
                <a:spcPct val="150000"/>
              </a:lnSpc>
              <a:spcBef>
                <a:spcPts val="0"/>
              </a:spcBef>
              <a:buSzPts val="1175"/>
              <a:buFont typeface="Arial" panose="020B0604020202020204" pitchFamily="34" charset="0"/>
              <a:buChar char="○"/>
            </a:pPr>
            <a:r>
              <a:rPr lang="pt-BR" sz="1200" dirty="0">
                <a:latin typeface="Gotham HTF"/>
              </a:rPr>
              <a:t>Fundação Getúlio Vargas</a:t>
            </a:r>
          </a:p>
          <a:p>
            <a:pPr marL="457200" indent="-303212">
              <a:lnSpc>
                <a:spcPct val="150000"/>
              </a:lnSpc>
              <a:spcBef>
                <a:spcPts val="0"/>
              </a:spcBef>
              <a:buSzPts val="1175"/>
              <a:buFont typeface="Arial" panose="020B0604020202020204" pitchFamily="34" charset="0"/>
              <a:buChar char="○"/>
            </a:pPr>
            <a:r>
              <a:rPr lang="pt-BR" sz="1400" dirty="0">
                <a:latin typeface="Gotham HTF"/>
              </a:rPr>
              <a:t>Mestrando em Ciência da Computação Aplicada</a:t>
            </a:r>
          </a:p>
          <a:p>
            <a:pPr marL="914400" lvl="1" indent="-303212">
              <a:lnSpc>
                <a:spcPct val="150000"/>
              </a:lnSpc>
              <a:spcBef>
                <a:spcPts val="0"/>
              </a:spcBef>
              <a:buSzPts val="1175"/>
              <a:buFont typeface="Arial" panose="020B0604020202020204" pitchFamily="34" charset="0"/>
              <a:buChar char="○"/>
            </a:pPr>
            <a:r>
              <a:rPr lang="pt-BR" sz="1200" dirty="0">
                <a:latin typeface="Gotham HTF"/>
              </a:rPr>
              <a:t>IPT – Instituto de Pesquisas Tecnológicas do Estado de São Paulo</a:t>
            </a:r>
          </a:p>
          <a:p>
            <a:pPr marL="457200" indent="-319087">
              <a:lnSpc>
                <a:spcPct val="150000"/>
              </a:lnSpc>
              <a:spcBef>
                <a:spcPts val="0"/>
              </a:spcBef>
              <a:buSzPts val="1425"/>
              <a:buFont typeface="Arial" panose="020B0604020202020204" pitchFamily="34" charset="0"/>
              <a:buChar char="●"/>
            </a:pPr>
            <a:r>
              <a:rPr lang="pt-BR" sz="1400" dirty="0">
                <a:latin typeface="Gotham HTF"/>
              </a:rPr>
              <a:t>Mais de 15 anos de experiencia com Sistemas Embarcados e IoT</a:t>
            </a:r>
          </a:p>
        </p:txBody>
      </p:sp>
      <p:pic>
        <p:nvPicPr>
          <p:cNvPr id="6" name="Google Shape;75;p17">
            <a:extLst>
              <a:ext uri="{FF2B5EF4-FFF2-40B4-BE49-F238E27FC236}">
                <a16:creationId xmlns:a16="http://schemas.microsoft.com/office/drawing/2014/main" id="{F129E931-9515-A95E-1198-8B48E94F099E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5768550" y="2112150"/>
            <a:ext cx="3117050" cy="311705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75698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genda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6E74DCA7-B91A-29B6-0D22-E14E01B466E2}"/>
              </a:ext>
            </a:extLst>
          </p:cNvPr>
          <p:cNvSpPr txBox="1"/>
          <p:nvPr/>
        </p:nvSpPr>
        <p:spPr>
          <a:xfrm>
            <a:off x="1098788" y="1664886"/>
            <a:ext cx="4625340" cy="37379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strike="sngStrike" dirty="0" err="1">
                <a:latin typeface="Gotham HTF Light"/>
                <a:cs typeface="Gotham HTF Light"/>
              </a:rPr>
              <a:t>Apresentação</a:t>
            </a:r>
            <a:r>
              <a:rPr lang="en-US" sz="2000" strike="sngStrike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dirty="0" err="1">
                <a:latin typeface="Gotham HTF Light"/>
                <a:cs typeface="Gotham HTF Light"/>
              </a:rPr>
              <a:t>Conteúdo</a:t>
            </a:r>
            <a:r>
              <a:rPr lang="en-US" sz="2000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dirty="0">
                <a:latin typeface="Gotham HTF Light"/>
                <a:cs typeface="Gotham HTF Light"/>
              </a:rPr>
              <a:t>Checkpoints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dirty="0" err="1">
                <a:latin typeface="Gotham HTF Light"/>
                <a:cs typeface="Gotham HTF Light"/>
              </a:rPr>
              <a:t>Datas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importantes</a:t>
            </a:r>
            <a:r>
              <a:rPr lang="en-US" sz="2000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dirty="0" err="1">
                <a:latin typeface="Gotham HTF Light"/>
                <a:cs typeface="Gotham HTF Light"/>
              </a:rPr>
              <a:t>Calendário</a:t>
            </a:r>
            <a:r>
              <a:rPr lang="en-US" sz="2000" dirty="0">
                <a:latin typeface="Gotham HTF Light"/>
                <a:cs typeface="Gotham HTF Light"/>
              </a:rPr>
              <a:t> do 2º </a:t>
            </a:r>
            <a:r>
              <a:rPr lang="en-US" sz="2000" dirty="0" err="1">
                <a:latin typeface="Gotham HTF Light"/>
                <a:cs typeface="Gotham HTF Light"/>
              </a:rPr>
              <a:t>Semestre</a:t>
            </a:r>
            <a:r>
              <a:rPr lang="en-US" sz="2000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2000" dirty="0" err="1">
                <a:latin typeface="Gotham HTF Light"/>
                <a:cs typeface="Gotham HTF Light"/>
              </a:rPr>
              <a:t>Bibliográfia</a:t>
            </a:r>
            <a:r>
              <a:rPr lang="en-US" sz="2000" dirty="0">
                <a:latin typeface="Gotham HTF Light"/>
                <a:cs typeface="Gotham HTF Light"/>
              </a:rPr>
              <a:t> </a:t>
            </a:r>
            <a:r>
              <a:rPr lang="en-US" sz="2000" dirty="0" err="1">
                <a:latin typeface="Gotham HTF Light"/>
                <a:cs typeface="Gotham HTF Light"/>
              </a:rPr>
              <a:t>Básica</a:t>
            </a:r>
            <a:r>
              <a:rPr lang="en-US" sz="2000" dirty="0">
                <a:latin typeface="Gotham HTF Light"/>
                <a:cs typeface="Gotham HTF Light"/>
              </a:rPr>
              <a:t>;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sz="2000" dirty="0">
              <a:latin typeface="Gotham HTF Light"/>
              <a:cs typeface="Gotham HTF Light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sz="2000" dirty="0">
              <a:latin typeface="Gotham HTF Light"/>
              <a:cs typeface="Gotham HTF Light"/>
            </a:endParaRPr>
          </a:p>
        </p:txBody>
      </p:sp>
      <p:pic>
        <p:nvPicPr>
          <p:cNvPr id="12" name="Google Shape;82;p18">
            <a:extLst>
              <a:ext uri="{FF2B5EF4-FFF2-40B4-BE49-F238E27FC236}">
                <a16:creationId xmlns:a16="http://schemas.microsoft.com/office/drawing/2014/main" id="{DD7806E3-D3CC-7A66-90E1-2AA63080526F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5220472" y="1268760"/>
            <a:ext cx="3600000" cy="360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51810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onteúdo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78A5B4F7-EF5F-175E-6A81-242788634D7C}"/>
              </a:ext>
            </a:extLst>
          </p:cNvPr>
          <p:cNvSpPr txBox="1"/>
          <p:nvPr/>
        </p:nvSpPr>
        <p:spPr>
          <a:xfrm>
            <a:off x="1098788" y="908720"/>
            <a:ext cx="7793692" cy="28750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dirty="0">
                <a:solidFill>
                  <a:srgbClr val="ED265B"/>
                </a:solidFill>
                <a:latin typeface="Gotham HTF Light"/>
                <a:cs typeface="Gotham HTF Light"/>
              </a:rPr>
              <a:t>1º </a:t>
            </a:r>
            <a:r>
              <a:rPr lang="en-US" sz="2400" dirty="0" err="1">
                <a:solidFill>
                  <a:srgbClr val="ED265B"/>
                </a:solidFill>
                <a:latin typeface="Gotham HTF Light"/>
                <a:cs typeface="Gotham HTF Light"/>
              </a:rPr>
              <a:t>Semestre</a:t>
            </a:r>
            <a:r>
              <a:rPr lang="en-US" sz="2400" dirty="0">
                <a:solidFill>
                  <a:srgbClr val="ED265B"/>
                </a:solidFill>
                <a:latin typeface="Gotham HTF Light"/>
                <a:cs typeface="Gotham HTF Light"/>
              </a:rPr>
              <a:t> – A </a:t>
            </a:r>
            <a:r>
              <a:rPr lang="en-US" sz="2400" dirty="0" err="1">
                <a:solidFill>
                  <a:srgbClr val="ED265B"/>
                </a:solidFill>
                <a:latin typeface="Gotham HTF Light"/>
                <a:cs typeface="Gotham HTF Light"/>
              </a:rPr>
              <a:t>parte</a:t>
            </a:r>
            <a:r>
              <a:rPr lang="en-US" sz="2400" dirty="0">
                <a:solidFill>
                  <a:srgbClr val="ED265B"/>
                </a:solidFill>
                <a:latin typeface="Gotham HTF Light"/>
                <a:cs typeface="Gotham HTF Light"/>
              </a:rPr>
              <a:t> Hard!</a:t>
            </a:r>
          </a:p>
          <a:p>
            <a:pPr marL="914400" lvl="1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ü"/>
            </a:pPr>
            <a:r>
              <a:rPr lang="en-US" sz="1400" strike="sngStrike" dirty="0" err="1">
                <a:latin typeface="Gotham HTF Light"/>
                <a:cs typeface="Gotham HTF Light"/>
              </a:rPr>
              <a:t>Introdução</a:t>
            </a:r>
            <a:r>
              <a:rPr lang="en-US" sz="1400" strike="sngStrike" dirty="0">
                <a:latin typeface="Gotham HTF Light"/>
                <a:cs typeface="Gotham HTF Light"/>
              </a:rPr>
              <a:t> a </a:t>
            </a:r>
            <a:r>
              <a:rPr lang="en-US" sz="1400" strike="sngStrike" dirty="0" err="1">
                <a:latin typeface="Gotham HTF Light"/>
                <a:cs typeface="Gotham HTF Light"/>
              </a:rPr>
              <a:t>Computação</a:t>
            </a:r>
            <a:r>
              <a:rPr lang="en-US" sz="1400" strike="sngStrike" dirty="0">
                <a:latin typeface="Gotham HTF Light"/>
                <a:cs typeface="Gotham HTF Light"/>
              </a:rPr>
              <a:t>;</a:t>
            </a:r>
          </a:p>
          <a:p>
            <a:pPr marL="914400" lvl="1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ü"/>
            </a:pPr>
            <a:r>
              <a:rPr lang="en-US" sz="1400" strike="sngStrike" dirty="0" err="1">
                <a:latin typeface="Gotham HTF Light"/>
                <a:cs typeface="Gotham HTF Light"/>
              </a:rPr>
              <a:t>Diferença</a:t>
            </a:r>
            <a:r>
              <a:rPr lang="en-US" sz="1400" strike="sngStrike" dirty="0">
                <a:latin typeface="Gotham HTF Light"/>
                <a:cs typeface="Gotham HTF Light"/>
              </a:rPr>
              <a:t> entre </a:t>
            </a:r>
            <a:r>
              <a:rPr lang="en-US" sz="1400" strike="sngStrike" dirty="0" err="1">
                <a:latin typeface="Gotham HTF Light"/>
                <a:cs typeface="Gotham HTF Light"/>
              </a:rPr>
              <a:t>Microprocessadores</a:t>
            </a:r>
            <a:r>
              <a:rPr lang="en-US" sz="1400" strike="sngStrike" dirty="0">
                <a:latin typeface="Gotham HTF Light"/>
                <a:cs typeface="Gotham HTF Light"/>
              </a:rPr>
              <a:t>, </a:t>
            </a:r>
            <a:r>
              <a:rPr lang="en-US" sz="1400" strike="sngStrike" dirty="0" err="1">
                <a:latin typeface="Gotham HTF Light"/>
                <a:cs typeface="Gotham HTF Light"/>
              </a:rPr>
              <a:t>Microcontroladores</a:t>
            </a:r>
            <a:r>
              <a:rPr lang="en-US" sz="1400" strike="sngStrike" dirty="0">
                <a:latin typeface="Gotham HTF Light"/>
                <a:cs typeface="Gotham HTF Light"/>
              </a:rPr>
              <a:t> e </a:t>
            </a:r>
            <a:r>
              <a:rPr lang="en-US" sz="1400" strike="sngStrike" dirty="0" err="1">
                <a:latin typeface="Gotham HTF Light"/>
                <a:cs typeface="Gotham HTF Light"/>
              </a:rPr>
              <a:t>Processadores</a:t>
            </a:r>
            <a:r>
              <a:rPr lang="en-US" sz="1400" strike="sngStrike" dirty="0">
                <a:latin typeface="Gotham HTF Light"/>
                <a:cs typeface="Gotham HTF Light"/>
              </a:rPr>
              <a:t>;</a:t>
            </a:r>
          </a:p>
          <a:p>
            <a:pPr marL="914400" lvl="1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ü"/>
            </a:pPr>
            <a:r>
              <a:rPr lang="en-US" sz="1400" strike="sngStrike" dirty="0" err="1">
                <a:latin typeface="Gotham HTF Light"/>
                <a:cs typeface="Gotham HTF Light"/>
              </a:rPr>
              <a:t>Ecossistema</a:t>
            </a:r>
            <a:r>
              <a:rPr lang="en-US" sz="1400" strike="sngStrike" dirty="0">
                <a:latin typeface="Gotham HTF Light"/>
                <a:cs typeface="Gotham HTF Light"/>
              </a:rPr>
              <a:t> Arduino Uno R3;</a:t>
            </a:r>
          </a:p>
          <a:p>
            <a:pPr marL="914400" lvl="1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ü"/>
            </a:pPr>
            <a:r>
              <a:rPr lang="en-US" sz="1400" strike="sngStrike" dirty="0" err="1">
                <a:latin typeface="Gotham HTF Light"/>
                <a:cs typeface="Gotham HTF Light"/>
              </a:rPr>
              <a:t>Circuitos</a:t>
            </a:r>
            <a:r>
              <a:rPr lang="en-US" sz="1400" strike="sngStrike" dirty="0">
                <a:latin typeface="Gotham HTF Light"/>
                <a:cs typeface="Gotham HTF Light"/>
              </a:rPr>
              <a:t> </a:t>
            </a:r>
            <a:r>
              <a:rPr lang="en-US" sz="1400" strike="sngStrike" dirty="0" err="1">
                <a:latin typeface="Gotham HTF Light"/>
                <a:cs typeface="Gotham HTF Light"/>
              </a:rPr>
              <a:t>Digitais</a:t>
            </a:r>
            <a:r>
              <a:rPr lang="en-US" sz="1400" strike="sngStrike" dirty="0">
                <a:latin typeface="Gotham HTF Light"/>
                <a:cs typeface="Gotham HTF Light"/>
              </a:rPr>
              <a:t> e </a:t>
            </a:r>
            <a:r>
              <a:rPr lang="en-US" sz="1400" strike="sngStrike" dirty="0" err="1">
                <a:latin typeface="Gotham HTF Light"/>
                <a:cs typeface="Gotham HTF Light"/>
              </a:rPr>
              <a:t>Analógicos</a:t>
            </a:r>
            <a:r>
              <a:rPr lang="en-US" sz="1400" strike="sngStrike" dirty="0">
                <a:latin typeface="Gotham HTF Light"/>
                <a:cs typeface="Gotham HTF Light"/>
              </a:rPr>
              <a:t>;</a:t>
            </a:r>
          </a:p>
          <a:p>
            <a:pPr marL="914400" lvl="1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ü"/>
            </a:pPr>
            <a:r>
              <a:rPr lang="en-US" sz="1400" strike="sngStrike" dirty="0" err="1">
                <a:latin typeface="Gotham HTF Light"/>
                <a:cs typeface="Gotham HTF Light"/>
              </a:rPr>
              <a:t>Uso</a:t>
            </a:r>
            <a:r>
              <a:rPr lang="en-US" sz="1400" strike="sngStrike" dirty="0">
                <a:latin typeface="Gotham HTF Light"/>
                <a:cs typeface="Gotham HTF Light"/>
              </a:rPr>
              <a:t> de </a:t>
            </a:r>
            <a:r>
              <a:rPr lang="en-US" sz="1400" strike="sngStrike" dirty="0" err="1">
                <a:latin typeface="Gotham HTF Light"/>
                <a:cs typeface="Gotham HTF Light"/>
              </a:rPr>
              <a:t>sensores</a:t>
            </a:r>
            <a:r>
              <a:rPr lang="en-US" sz="1400" strike="sngStrike" dirty="0">
                <a:latin typeface="Gotham HTF Light"/>
                <a:cs typeface="Gotham HTF Light"/>
              </a:rPr>
              <a:t> e </a:t>
            </a:r>
            <a:r>
              <a:rPr lang="en-US" sz="1400" strike="sngStrike" dirty="0" err="1">
                <a:latin typeface="Gotham HTF Light"/>
                <a:cs typeface="Gotham HTF Light"/>
              </a:rPr>
              <a:t>atuadores</a:t>
            </a:r>
            <a:r>
              <a:rPr lang="en-US" sz="1400" strike="sngStrike" dirty="0">
                <a:latin typeface="Gotham HTF Light"/>
                <a:cs typeface="Gotham HTF Light"/>
              </a:rPr>
              <a:t>;</a:t>
            </a:r>
          </a:p>
          <a:p>
            <a:pPr marL="914400" lvl="1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ü"/>
            </a:pPr>
            <a:r>
              <a:rPr lang="en-US" sz="1400" dirty="0" err="1">
                <a:latin typeface="Gotham HTF Light"/>
                <a:cs typeface="Gotham HTF Light"/>
              </a:rPr>
              <a:t>Recursos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avançados</a:t>
            </a:r>
            <a:r>
              <a:rPr lang="en-US" sz="1400" dirty="0">
                <a:latin typeface="Gotham HTF Light"/>
                <a:cs typeface="Gotham HTF Light"/>
              </a:rPr>
              <a:t> de </a:t>
            </a:r>
            <a:r>
              <a:rPr lang="en-US" sz="1400" dirty="0" err="1">
                <a:latin typeface="Gotham HTF Light"/>
                <a:cs typeface="Gotham HTF Light"/>
              </a:rPr>
              <a:t>micrconcontroladores</a:t>
            </a:r>
            <a:r>
              <a:rPr lang="en-US" sz="1400" dirty="0">
                <a:latin typeface="Gotham HTF Light"/>
                <a:cs typeface="Gotham HTF Light"/>
              </a:rPr>
              <a:t> (</a:t>
            </a:r>
            <a:r>
              <a:rPr lang="en-US" sz="1400" dirty="0" err="1">
                <a:latin typeface="Gotham HTF Light"/>
                <a:cs typeface="Gotham HTF Light"/>
              </a:rPr>
              <a:t>Interrupções</a:t>
            </a:r>
            <a:r>
              <a:rPr lang="en-US" sz="1400" dirty="0">
                <a:latin typeface="Gotham HTF Light"/>
                <a:cs typeface="Gotham HTF Light"/>
              </a:rPr>
              <a:t>, Timers, Low Power, RTC , WDT);</a:t>
            </a:r>
          </a:p>
          <a:p>
            <a:pPr marL="914400" lvl="1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ü"/>
            </a:pPr>
            <a:r>
              <a:rPr lang="en-US" sz="1400" dirty="0" err="1">
                <a:latin typeface="Gotham HTF Light"/>
                <a:cs typeface="Gotham HTF Light"/>
              </a:rPr>
              <a:t>Comunicação</a:t>
            </a:r>
            <a:r>
              <a:rPr lang="en-US" sz="1400" dirty="0">
                <a:latin typeface="Gotham HTF Light"/>
                <a:cs typeface="Gotham HTF Light"/>
              </a:rPr>
              <a:t> entre </a:t>
            </a:r>
            <a:r>
              <a:rPr lang="en-US" sz="1400" dirty="0" err="1">
                <a:latin typeface="Gotham HTF Light"/>
                <a:cs typeface="Gotham HTF Light"/>
              </a:rPr>
              <a:t>Hardwares</a:t>
            </a:r>
            <a:r>
              <a:rPr lang="en-US" sz="1400" dirty="0">
                <a:latin typeface="Gotham HTF Light"/>
                <a:cs typeface="Gotham HTF Light"/>
              </a:rPr>
              <a:t> (USART, SPI, I2C);</a:t>
            </a: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638E0EA3-2A6B-A3E2-9702-A9C8D88524A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4385" y="3511185"/>
            <a:ext cx="2654119" cy="2654119"/>
          </a:xfrm>
          <a:prstGeom prst="rect">
            <a:avLst/>
          </a:prstGeom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371A73BE-C6DA-7D15-C5E9-5F11654723AB}"/>
              </a:ext>
            </a:extLst>
          </p:cNvPr>
          <p:cNvSpPr txBox="1"/>
          <p:nvPr/>
        </p:nvSpPr>
        <p:spPr>
          <a:xfrm>
            <a:off x="1098788" y="3864544"/>
            <a:ext cx="5454412" cy="22287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dirty="0">
                <a:solidFill>
                  <a:srgbClr val="ED265B"/>
                </a:solidFill>
                <a:latin typeface="Gotham HTF Light"/>
                <a:cs typeface="Gotham HTF Light"/>
              </a:rPr>
              <a:t>2º </a:t>
            </a:r>
            <a:r>
              <a:rPr lang="en-US" sz="2400" dirty="0" err="1">
                <a:solidFill>
                  <a:srgbClr val="ED265B"/>
                </a:solidFill>
                <a:latin typeface="Gotham HTF Light"/>
                <a:cs typeface="Gotham HTF Light"/>
              </a:rPr>
              <a:t>Semestre</a:t>
            </a:r>
            <a:r>
              <a:rPr lang="en-US" sz="2400" dirty="0">
                <a:solidFill>
                  <a:srgbClr val="ED265B"/>
                </a:solidFill>
                <a:latin typeface="Gotham HTF Light"/>
                <a:cs typeface="Gotham HTF Light"/>
              </a:rPr>
              <a:t> – A </a:t>
            </a:r>
            <a:r>
              <a:rPr lang="en-US" sz="2400" dirty="0" err="1">
                <a:solidFill>
                  <a:srgbClr val="ED265B"/>
                </a:solidFill>
                <a:latin typeface="Gotham HTF Light"/>
                <a:cs typeface="Gotham HTF Light"/>
              </a:rPr>
              <a:t>parte</a:t>
            </a:r>
            <a:r>
              <a:rPr lang="en-US" sz="2400" dirty="0">
                <a:solidFill>
                  <a:srgbClr val="ED265B"/>
                </a:solidFill>
                <a:latin typeface="Gotham HTF Light"/>
                <a:cs typeface="Gotham HTF Light"/>
              </a:rPr>
              <a:t> Soft!</a:t>
            </a:r>
          </a:p>
          <a:p>
            <a:pPr marL="914400" lvl="1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ü"/>
            </a:pPr>
            <a:r>
              <a:rPr lang="en-US" sz="1400" dirty="0">
                <a:latin typeface="Gotham HTF Light"/>
                <a:cs typeface="Gotham HTF Light"/>
              </a:rPr>
              <a:t>O que é IoT?;</a:t>
            </a:r>
          </a:p>
          <a:p>
            <a:pPr marL="914400" lvl="1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ü"/>
            </a:pPr>
            <a:r>
              <a:rPr lang="en-US" sz="1400" dirty="0" err="1">
                <a:latin typeface="Gotham HTF Light"/>
                <a:cs typeface="Gotham HTF Light"/>
              </a:rPr>
              <a:t>Comunicação</a:t>
            </a:r>
            <a:r>
              <a:rPr lang="en-US" sz="1400" dirty="0">
                <a:latin typeface="Gotham HTF Light"/>
                <a:cs typeface="Gotham HTF Light"/>
              </a:rPr>
              <a:t> Wireless</a:t>
            </a:r>
          </a:p>
          <a:p>
            <a:pPr marL="914400" lvl="1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ü"/>
            </a:pPr>
            <a:r>
              <a:rPr lang="en-US" sz="1400" dirty="0" err="1">
                <a:latin typeface="Gotham HTF Light"/>
                <a:cs typeface="Gotham HTF Light"/>
              </a:rPr>
              <a:t>Protocolos</a:t>
            </a:r>
            <a:r>
              <a:rPr lang="en-US" sz="1400" dirty="0">
                <a:latin typeface="Gotham HTF Light"/>
                <a:cs typeface="Gotham HTF Light"/>
              </a:rPr>
              <a:t> de </a:t>
            </a:r>
            <a:r>
              <a:rPr lang="en-US" sz="1400" dirty="0" err="1">
                <a:latin typeface="Gotham HTF Light"/>
                <a:cs typeface="Gotham HTF Light"/>
              </a:rPr>
              <a:t>comunicação</a:t>
            </a:r>
            <a:r>
              <a:rPr lang="en-US" sz="1400" dirty="0">
                <a:latin typeface="Gotham HTF Light"/>
                <a:cs typeface="Gotham HTF Light"/>
              </a:rPr>
              <a:t>;</a:t>
            </a:r>
          </a:p>
          <a:p>
            <a:pPr marL="914400" lvl="1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ü"/>
            </a:pPr>
            <a:r>
              <a:rPr lang="en-US" sz="1400" dirty="0" err="1">
                <a:latin typeface="Gotham HTF Light"/>
                <a:cs typeface="Gotham HTF Light"/>
              </a:rPr>
              <a:t>Plataformas</a:t>
            </a:r>
            <a:r>
              <a:rPr lang="en-US" sz="1400" dirty="0">
                <a:latin typeface="Gotham HTF Light"/>
                <a:cs typeface="Gotham HTF Light"/>
              </a:rPr>
              <a:t> Back-End para IoT;</a:t>
            </a:r>
          </a:p>
          <a:p>
            <a:pPr marL="914400" lvl="1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ü"/>
            </a:pPr>
            <a:r>
              <a:rPr lang="en-US" sz="1400" dirty="0" err="1">
                <a:latin typeface="Gotham HTF Light"/>
                <a:cs typeface="Gotham HTF Light"/>
              </a:rPr>
              <a:t>Integrações</a:t>
            </a:r>
            <a:r>
              <a:rPr lang="en-US" sz="1400" dirty="0">
                <a:latin typeface="Gotham HTF Light"/>
                <a:cs typeface="Gotham HTF Light"/>
              </a:rPr>
              <a:t> entre </a:t>
            </a:r>
            <a:r>
              <a:rPr lang="en-US" sz="1400" dirty="0" err="1">
                <a:latin typeface="Gotham HTF Light"/>
                <a:cs typeface="Gotham HTF Light"/>
              </a:rPr>
              <a:t>os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níveis</a:t>
            </a:r>
            <a:r>
              <a:rPr lang="en-US" sz="1400" dirty="0">
                <a:latin typeface="Gotham HTF Light"/>
                <a:cs typeface="Gotham HTF Light"/>
              </a:rPr>
              <a:t> de edge, cloud e dashboards;</a:t>
            </a:r>
          </a:p>
        </p:txBody>
      </p:sp>
    </p:spTree>
    <p:extLst>
      <p:ext uri="{BB962C8B-B14F-4D97-AF65-F5344CB8AC3E}">
        <p14:creationId xmlns:p14="http://schemas.microsoft.com/office/powerpoint/2010/main" val="3065933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6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heckpoints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796C8AA8-C3FA-2B50-C01C-439554D2CA64}"/>
              </a:ext>
            </a:extLst>
          </p:cNvPr>
          <p:cNvSpPr txBox="1"/>
          <p:nvPr/>
        </p:nvSpPr>
        <p:spPr>
          <a:xfrm>
            <a:off x="611560" y="764704"/>
            <a:ext cx="8280920" cy="57099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1600" dirty="0">
                <a:solidFill>
                  <a:srgbClr val="ED265B"/>
                </a:solidFill>
                <a:latin typeface="Gotham HTF Light"/>
                <a:cs typeface="Gotham HTF Light"/>
              </a:rPr>
              <a:t>O que?</a:t>
            </a:r>
          </a:p>
          <a:p>
            <a:pPr marL="914400" lvl="1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Ø"/>
            </a:pPr>
            <a:r>
              <a:rPr lang="en-US" sz="1100" dirty="0">
                <a:latin typeface="Gotham HTF Light"/>
                <a:cs typeface="Gotham HTF Light"/>
              </a:rPr>
              <a:t>São </a:t>
            </a:r>
            <a:r>
              <a:rPr lang="en-US" sz="1100" b="1" dirty="0">
                <a:latin typeface="Gotham HTF Light"/>
                <a:cs typeface="Gotham HTF Light"/>
              </a:rPr>
              <a:t>3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b="1" dirty="0">
                <a:latin typeface="Gotham HTF Light"/>
                <a:cs typeface="Gotham HTF Light"/>
              </a:rPr>
              <a:t>PROJETOS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baseados</a:t>
            </a:r>
            <a:r>
              <a:rPr lang="en-US" sz="1100" dirty="0">
                <a:latin typeface="Gotham HTF Light"/>
                <a:cs typeface="Gotham HTF Light"/>
              </a:rPr>
              <a:t> no </a:t>
            </a:r>
            <a:r>
              <a:rPr lang="en-US" sz="1100" dirty="0" err="1">
                <a:latin typeface="Gotham HTF Light"/>
                <a:cs typeface="Gotham HTF Light"/>
              </a:rPr>
              <a:t>conteúdo</a:t>
            </a:r>
            <a:r>
              <a:rPr lang="en-US" sz="1100" dirty="0">
                <a:latin typeface="Gotham HTF Light"/>
                <a:cs typeface="Gotham HTF Light"/>
              </a:rPr>
              <a:t> dado </a:t>
            </a:r>
            <a:r>
              <a:rPr lang="en-US" sz="1100" dirty="0" err="1">
                <a:latin typeface="Gotham HTF Light"/>
                <a:cs typeface="Gotham HTF Light"/>
              </a:rPr>
              <a:t>em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sala</a:t>
            </a:r>
            <a:r>
              <a:rPr lang="en-US" sz="1100" dirty="0">
                <a:latin typeface="Gotham HTF Light"/>
                <a:cs typeface="Gotham HTF Light"/>
              </a:rPr>
              <a:t> de aula;</a:t>
            </a:r>
          </a:p>
          <a:p>
            <a:pPr marL="914400" lvl="1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Ø"/>
            </a:pPr>
            <a:r>
              <a:rPr lang="en-US" sz="1100" dirty="0">
                <a:latin typeface="Gotham HTF Light"/>
                <a:cs typeface="Gotham HTF Light"/>
              </a:rPr>
              <a:t>A </a:t>
            </a:r>
            <a:r>
              <a:rPr lang="en-US" sz="1100" b="1" dirty="0">
                <a:latin typeface="Gotham HTF Light"/>
                <a:cs typeface="Gotham HTF Light"/>
              </a:rPr>
              <a:t>MENOR</a:t>
            </a:r>
            <a:r>
              <a:rPr lang="en-US" sz="1100" dirty="0">
                <a:latin typeface="Gotham HTF Light"/>
                <a:cs typeface="Gotham HTF Light"/>
              </a:rPr>
              <a:t> das 3 </a:t>
            </a:r>
            <a:r>
              <a:rPr lang="en-US" sz="1100" dirty="0" err="1">
                <a:latin typeface="Gotham HTF Light"/>
                <a:cs typeface="Gotham HTF Light"/>
              </a:rPr>
              <a:t>notas</a:t>
            </a:r>
            <a:r>
              <a:rPr lang="en-US" sz="1100" dirty="0">
                <a:latin typeface="Gotham HTF Light"/>
                <a:cs typeface="Gotham HTF Light"/>
              </a:rPr>
              <a:t> é </a:t>
            </a:r>
            <a:r>
              <a:rPr lang="en-US" sz="1100" b="1" dirty="0">
                <a:latin typeface="Gotham HTF Light"/>
                <a:cs typeface="Gotham HTF Light"/>
              </a:rPr>
              <a:t>DESCARTADA;</a:t>
            </a:r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1600" dirty="0">
                <a:solidFill>
                  <a:srgbClr val="ED265B"/>
                </a:solidFill>
                <a:latin typeface="Gotham HTF Light"/>
                <a:cs typeface="Gotham HTF Light"/>
              </a:rPr>
              <a:t>Como?</a:t>
            </a:r>
          </a:p>
          <a:p>
            <a:pPr marL="914400" lvl="1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Ø"/>
            </a:pPr>
            <a:r>
              <a:rPr lang="en-US" sz="1100" dirty="0">
                <a:latin typeface="Gotham HTF Light"/>
                <a:cs typeface="Gotham HTF Light"/>
              </a:rPr>
              <a:t>O </a:t>
            </a:r>
            <a:r>
              <a:rPr lang="en-US" sz="1100" dirty="0" err="1">
                <a:latin typeface="Gotham HTF Light"/>
                <a:cs typeface="Gotham HTF Light"/>
              </a:rPr>
              <a:t>projeto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será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em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b="1" dirty="0">
                <a:latin typeface="Gotham HTF Light"/>
                <a:cs typeface="Gotham HTF Light"/>
              </a:rPr>
              <a:t>GRUPO</a:t>
            </a:r>
            <a:r>
              <a:rPr lang="en-US" sz="1100" dirty="0">
                <a:latin typeface="Gotham HTF Light"/>
                <a:cs typeface="Gotham HTF Light"/>
              </a:rPr>
              <a:t> e é divide </a:t>
            </a:r>
            <a:r>
              <a:rPr lang="en-US" sz="1100" dirty="0" err="1">
                <a:latin typeface="Gotham HTF Light"/>
                <a:cs typeface="Gotham HTF Light"/>
              </a:rPr>
              <a:t>em</a:t>
            </a:r>
            <a:r>
              <a:rPr lang="en-US" sz="1100" dirty="0">
                <a:latin typeface="Gotham HTF Light"/>
                <a:cs typeface="Gotham HTF Light"/>
              </a:rPr>
              <a:t> duas </a:t>
            </a:r>
            <a:r>
              <a:rPr lang="en-US" sz="1100" dirty="0" err="1">
                <a:latin typeface="Gotham HTF Light"/>
                <a:cs typeface="Gotham HTF Light"/>
              </a:rPr>
              <a:t>etapas</a:t>
            </a:r>
            <a:r>
              <a:rPr lang="en-US" sz="1100" dirty="0">
                <a:latin typeface="Gotham HTF Light"/>
                <a:cs typeface="Gotham HTF Light"/>
              </a:rPr>
              <a:t>:</a:t>
            </a:r>
          </a:p>
          <a:p>
            <a:pPr marL="1371600" lvl="2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v"/>
            </a:pPr>
            <a:r>
              <a:rPr lang="en-US" sz="1100" b="1" dirty="0" err="1">
                <a:latin typeface="Gotham HTF Light"/>
                <a:cs typeface="Gotham HTF Light"/>
              </a:rPr>
              <a:t>Documentação</a:t>
            </a:r>
            <a:r>
              <a:rPr lang="en-US" sz="1100" dirty="0">
                <a:latin typeface="Gotham HTF Light"/>
                <a:cs typeface="Gotham HTF Light"/>
              </a:rPr>
              <a:t>: </a:t>
            </a:r>
          </a:p>
          <a:p>
            <a:pPr marL="1828800" lvl="3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q"/>
            </a:pPr>
            <a:r>
              <a:rPr lang="en-US" sz="1000" dirty="0">
                <a:latin typeface="Gotham HTF Light"/>
                <a:cs typeface="Gotham HTF Light"/>
              </a:rPr>
              <a:t>Deve ser </a:t>
            </a:r>
            <a:r>
              <a:rPr lang="en-US" sz="1000" dirty="0" err="1">
                <a:latin typeface="Gotham HTF Light"/>
                <a:cs typeface="Gotham HTF Light"/>
              </a:rPr>
              <a:t>commitado</a:t>
            </a:r>
            <a:r>
              <a:rPr lang="en-US" sz="1000" dirty="0">
                <a:latin typeface="Gotham HTF Light"/>
                <a:cs typeface="Gotham HTF Light"/>
              </a:rPr>
              <a:t> no GitHub;</a:t>
            </a:r>
          </a:p>
          <a:p>
            <a:pPr marL="1828800" lvl="3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q"/>
            </a:pPr>
            <a:r>
              <a:rPr lang="en-US" sz="1000" dirty="0">
                <a:latin typeface="Gotham HTF Light"/>
                <a:cs typeface="Gotham HTF Light"/>
              </a:rPr>
              <a:t>Deve </a:t>
            </a:r>
            <a:r>
              <a:rPr lang="en-US" sz="1000" dirty="0" err="1">
                <a:latin typeface="Gotham HTF Light"/>
                <a:cs typeface="Gotham HTF Light"/>
              </a:rPr>
              <a:t>possuir</a:t>
            </a:r>
            <a:r>
              <a:rPr lang="en-US" sz="1000" dirty="0">
                <a:latin typeface="Gotham HTF Light"/>
                <a:cs typeface="Gotham HTF Light"/>
              </a:rPr>
              <a:t> um </a:t>
            </a:r>
            <a:r>
              <a:rPr lang="en-US" sz="1000" b="1" dirty="0">
                <a:latin typeface="Gotham HTF Light"/>
                <a:cs typeface="Gotham HTF Light"/>
              </a:rPr>
              <a:t>README</a:t>
            </a:r>
            <a:r>
              <a:rPr lang="en-US" sz="1000" dirty="0">
                <a:latin typeface="Gotham HTF Light"/>
                <a:cs typeface="Gotham HTF Light"/>
              </a:rPr>
              <a:t> </a:t>
            </a:r>
            <a:r>
              <a:rPr lang="en-US" sz="1000" dirty="0" err="1">
                <a:latin typeface="Gotham HTF Light"/>
                <a:cs typeface="Gotham HTF Light"/>
              </a:rPr>
              <a:t>descrevendo</a:t>
            </a:r>
            <a:r>
              <a:rPr lang="en-US" sz="1000" dirty="0">
                <a:latin typeface="Gotham HTF Light"/>
                <a:cs typeface="Gotham HTF Light"/>
              </a:rPr>
              <a:t> o </a:t>
            </a:r>
            <a:r>
              <a:rPr lang="en-US" sz="1000" dirty="0" err="1">
                <a:latin typeface="Gotham HTF Light"/>
                <a:cs typeface="Gotham HTF Light"/>
              </a:rPr>
              <a:t>projeto</a:t>
            </a:r>
            <a:r>
              <a:rPr lang="en-US" sz="1000" dirty="0">
                <a:latin typeface="Gotham HTF Light"/>
                <a:cs typeface="Gotham HTF Light"/>
              </a:rPr>
              <a:t>, </a:t>
            </a:r>
            <a:r>
              <a:rPr lang="en-US" sz="1000" dirty="0" err="1">
                <a:latin typeface="Gotham HTF Light"/>
                <a:cs typeface="Gotham HTF Light"/>
              </a:rPr>
              <a:t>suas</a:t>
            </a:r>
            <a:r>
              <a:rPr lang="en-US" sz="1000" dirty="0">
                <a:latin typeface="Gotham HTF Light"/>
                <a:cs typeface="Gotham HTF Light"/>
              </a:rPr>
              <a:t> </a:t>
            </a:r>
            <a:r>
              <a:rPr lang="en-US" sz="1000" dirty="0" err="1">
                <a:latin typeface="Gotham HTF Light"/>
                <a:cs typeface="Gotham HTF Light"/>
              </a:rPr>
              <a:t>dependências</a:t>
            </a:r>
            <a:r>
              <a:rPr lang="en-US" sz="1000" dirty="0">
                <a:latin typeface="Gotham HTF Light"/>
                <a:cs typeface="Gotham HTF Light"/>
              </a:rPr>
              <a:t>, </a:t>
            </a:r>
            <a:r>
              <a:rPr lang="en-US" sz="1000" dirty="0" err="1">
                <a:latin typeface="Gotham HTF Light"/>
                <a:cs typeface="Gotham HTF Light"/>
              </a:rPr>
              <a:t>como</a:t>
            </a:r>
            <a:r>
              <a:rPr lang="en-US" sz="1000" dirty="0">
                <a:latin typeface="Gotham HTF Light"/>
                <a:cs typeface="Gotham HTF Light"/>
              </a:rPr>
              <a:t> </a:t>
            </a:r>
            <a:r>
              <a:rPr lang="en-US" sz="1000" dirty="0" err="1">
                <a:latin typeface="Gotham HTF Light"/>
                <a:cs typeface="Gotham HTF Light"/>
              </a:rPr>
              <a:t>reproduzi</a:t>
            </a:r>
            <a:r>
              <a:rPr lang="en-US" sz="1000" dirty="0">
                <a:latin typeface="Gotham HTF Light"/>
                <a:cs typeface="Gotham HTF Light"/>
              </a:rPr>
              <a:t>-lo, link para a </a:t>
            </a:r>
            <a:r>
              <a:rPr lang="en-US" sz="1000" dirty="0" err="1">
                <a:latin typeface="Gotham HTF Light"/>
                <a:cs typeface="Gotham HTF Light"/>
              </a:rPr>
              <a:t>simulação</a:t>
            </a:r>
            <a:r>
              <a:rPr lang="en-US" sz="1000" dirty="0">
                <a:latin typeface="Gotham HTF Light"/>
                <a:cs typeface="Gotham HTF Light"/>
              </a:rPr>
              <a:t>, link para o video, e </a:t>
            </a:r>
            <a:r>
              <a:rPr lang="en-US" sz="1000" dirty="0" err="1">
                <a:latin typeface="Gotham HTF Light"/>
                <a:cs typeface="Gotham HTF Light"/>
              </a:rPr>
              <a:t>licença</a:t>
            </a:r>
            <a:r>
              <a:rPr lang="en-US" sz="1000" dirty="0">
                <a:latin typeface="Gotham HTF Light"/>
                <a:cs typeface="Gotham HTF Light"/>
              </a:rPr>
              <a:t> de </a:t>
            </a:r>
            <a:r>
              <a:rPr lang="en-US" sz="1000" dirty="0" err="1">
                <a:latin typeface="Gotham HTF Light"/>
                <a:cs typeface="Gotham HTF Light"/>
              </a:rPr>
              <a:t>uso</a:t>
            </a:r>
            <a:r>
              <a:rPr lang="en-US" sz="1000" dirty="0">
                <a:latin typeface="Gotham HTF Light"/>
                <a:cs typeface="Gotham HTF Light"/>
              </a:rPr>
              <a:t>;</a:t>
            </a:r>
          </a:p>
          <a:p>
            <a:pPr marL="1828800" lvl="3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q"/>
            </a:pPr>
            <a:r>
              <a:rPr lang="en-US" sz="1000" dirty="0">
                <a:latin typeface="Gotham HTF Light"/>
                <a:cs typeface="Gotham HTF Light"/>
              </a:rPr>
              <a:t>Deve </a:t>
            </a:r>
            <a:r>
              <a:rPr lang="en-US" sz="1000" dirty="0" err="1">
                <a:latin typeface="Gotham HTF Light"/>
                <a:cs typeface="Gotham HTF Light"/>
              </a:rPr>
              <a:t>possuir</a:t>
            </a:r>
            <a:r>
              <a:rPr lang="en-US" sz="1000" dirty="0">
                <a:latin typeface="Gotham HTF Light"/>
                <a:cs typeface="Gotham HTF Light"/>
              </a:rPr>
              <a:t> </a:t>
            </a:r>
            <a:r>
              <a:rPr lang="en-US" sz="1000" dirty="0" err="1">
                <a:latin typeface="Gotham HTF Light"/>
                <a:cs typeface="Gotham HTF Light"/>
              </a:rPr>
              <a:t>uma</a:t>
            </a:r>
            <a:r>
              <a:rPr lang="en-US" sz="1000" dirty="0">
                <a:latin typeface="Gotham HTF Light"/>
                <a:cs typeface="Gotham HTF Light"/>
              </a:rPr>
              <a:t> </a:t>
            </a:r>
            <a:r>
              <a:rPr lang="en-US" sz="1000" b="1" dirty="0">
                <a:latin typeface="Gotham HTF Light"/>
                <a:cs typeface="Gotham HTF Light"/>
              </a:rPr>
              <a:t>IMAGEM</a:t>
            </a:r>
            <a:r>
              <a:rPr lang="en-US" sz="1000" dirty="0">
                <a:latin typeface="Gotham HTF Light"/>
                <a:cs typeface="Gotham HTF Light"/>
              </a:rPr>
              <a:t> do </a:t>
            </a:r>
            <a:r>
              <a:rPr lang="en-US" sz="1000" dirty="0" err="1">
                <a:latin typeface="Gotham HTF Light"/>
                <a:cs typeface="Gotham HTF Light"/>
              </a:rPr>
              <a:t>circuito</a:t>
            </a:r>
            <a:r>
              <a:rPr lang="en-US" sz="1000" dirty="0">
                <a:latin typeface="Gotham HTF Light"/>
                <a:cs typeface="Gotham HTF Light"/>
              </a:rPr>
              <a:t> </a:t>
            </a:r>
            <a:r>
              <a:rPr lang="en-US" sz="1000" dirty="0" err="1">
                <a:latin typeface="Gotham HTF Light"/>
                <a:cs typeface="Gotham HTF Light"/>
              </a:rPr>
              <a:t>montado</a:t>
            </a:r>
            <a:r>
              <a:rPr lang="en-US" sz="1000" dirty="0">
                <a:latin typeface="Gotham HTF Light"/>
                <a:cs typeface="Gotham HTF Light"/>
              </a:rPr>
              <a:t> no </a:t>
            </a:r>
            <a:r>
              <a:rPr lang="en-US" sz="1000" dirty="0" err="1">
                <a:latin typeface="Gotham HTF Light"/>
                <a:cs typeface="Gotham HTF Light"/>
              </a:rPr>
              <a:t>simulador</a:t>
            </a:r>
            <a:r>
              <a:rPr lang="en-US" sz="1000" dirty="0">
                <a:latin typeface="Gotham HTF Light"/>
                <a:cs typeface="Gotham HTF Light"/>
              </a:rPr>
              <a:t>;</a:t>
            </a:r>
          </a:p>
          <a:p>
            <a:pPr marL="1828800" lvl="3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q"/>
            </a:pPr>
            <a:r>
              <a:rPr lang="en-US" sz="1000" dirty="0">
                <a:latin typeface="Gotham HTF Light"/>
                <a:cs typeface="Gotham HTF Light"/>
              </a:rPr>
              <a:t>Dev </a:t>
            </a:r>
            <a:r>
              <a:rPr lang="en-US" sz="1000" dirty="0" err="1">
                <a:latin typeface="Gotham HTF Light"/>
                <a:cs typeface="Gotham HTF Light"/>
              </a:rPr>
              <a:t>possuir</a:t>
            </a:r>
            <a:r>
              <a:rPr lang="en-US" sz="1000" dirty="0">
                <a:latin typeface="Gotham HTF Light"/>
                <a:cs typeface="Gotham HTF Light"/>
              </a:rPr>
              <a:t> o </a:t>
            </a:r>
            <a:r>
              <a:rPr lang="en-US" sz="1000" b="1" dirty="0">
                <a:latin typeface="Gotham HTF Light"/>
                <a:cs typeface="Gotham HTF Light"/>
              </a:rPr>
              <a:t>CÓDIGO FONTE </a:t>
            </a:r>
            <a:r>
              <a:rPr lang="en-US" sz="1000" dirty="0">
                <a:latin typeface="Gotham HTF Light"/>
                <a:cs typeface="Gotham HTF Light"/>
              </a:rPr>
              <a:t>do </a:t>
            </a:r>
            <a:r>
              <a:rPr lang="en-US" sz="1000" dirty="0" err="1">
                <a:latin typeface="Gotham HTF Light"/>
                <a:cs typeface="Gotham HTF Light"/>
              </a:rPr>
              <a:t>projeto</a:t>
            </a:r>
            <a:r>
              <a:rPr lang="en-US" sz="1000" dirty="0">
                <a:latin typeface="Gotham HTF Light"/>
                <a:cs typeface="Gotham HTF Light"/>
              </a:rPr>
              <a:t>;</a:t>
            </a:r>
          </a:p>
          <a:p>
            <a:pPr marL="1828800" lvl="3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q"/>
            </a:pPr>
            <a:r>
              <a:rPr lang="en-US" sz="1000" dirty="0">
                <a:latin typeface="Gotham HTF Light"/>
                <a:cs typeface="Gotham HTF Light"/>
              </a:rPr>
              <a:t>O video </a:t>
            </a:r>
            <a:r>
              <a:rPr lang="en-US" sz="1000" dirty="0" err="1">
                <a:latin typeface="Gotham HTF Light"/>
                <a:cs typeface="Gotham HTF Light"/>
              </a:rPr>
              <a:t>deve</a:t>
            </a:r>
            <a:r>
              <a:rPr lang="en-US" sz="1000" dirty="0">
                <a:latin typeface="Gotham HTF Light"/>
                <a:cs typeface="Gotham HTF Light"/>
              </a:rPr>
              <a:t> </a:t>
            </a:r>
            <a:r>
              <a:rPr lang="en-US" sz="1000" dirty="0" err="1">
                <a:latin typeface="Gotham HTF Light"/>
                <a:cs typeface="Gotham HTF Light"/>
              </a:rPr>
              <a:t>explicar</a:t>
            </a:r>
            <a:r>
              <a:rPr lang="en-US" sz="1000" dirty="0">
                <a:latin typeface="Gotham HTF Light"/>
                <a:cs typeface="Gotham HTF Light"/>
              </a:rPr>
              <a:t> </a:t>
            </a:r>
            <a:r>
              <a:rPr lang="en-US" sz="1000" dirty="0" err="1">
                <a:latin typeface="Gotham HTF Light"/>
                <a:cs typeface="Gotham HTF Light"/>
              </a:rPr>
              <a:t>como</a:t>
            </a:r>
            <a:r>
              <a:rPr lang="en-US" sz="1000" dirty="0">
                <a:latin typeface="Gotham HTF Light"/>
                <a:cs typeface="Gotham HTF Light"/>
              </a:rPr>
              <a:t> o </a:t>
            </a:r>
            <a:r>
              <a:rPr lang="en-US" sz="1000" dirty="0" err="1">
                <a:latin typeface="Gotham HTF Light"/>
                <a:cs typeface="Gotham HTF Light"/>
              </a:rPr>
              <a:t>projeto</a:t>
            </a:r>
            <a:r>
              <a:rPr lang="en-US" sz="1000" dirty="0">
                <a:latin typeface="Gotham HTF Light"/>
                <a:cs typeface="Gotham HTF Light"/>
              </a:rPr>
              <a:t> </a:t>
            </a:r>
            <a:r>
              <a:rPr lang="en-US" sz="1000" dirty="0" err="1">
                <a:latin typeface="Gotham HTF Light"/>
                <a:cs typeface="Gotham HTF Light"/>
              </a:rPr>
              <a:t>foi</a:t>
            </a:r>
            <a:r>
              <a:rPr lang="en-US" sz="1000" dirty="0">
                <a:latin typeface="Gotham HTF Light"/>
                <a:cs typeface="Gotham HTF Light"/>
              </a:rPr>
              <a:t> </a:t>
            </a:r>
            <a:r>
              <a:rPr lang="en-US" sz="1000" dirty="0" err="1">
                <a:latin typeface="Gotham HTF Light"/>
                <a:cs typeface="Gotham HTF Light"/>
              </a:rPr>
              <a:t>implementado</a:t>
            </a:r>
            <a:r>
              <a:rPr lang="en-US" sz="1000" dirty="0">
                <a:latin typeface="Gotham HTF Light"/>
                <a:cs typeface="Gotham HTF Light"/>
              </a:rPr>
              <a:t>, </a:t>
            </a:r>
            <a:r>
              <a:rPr lang="en-US" sz="1000" dirty="0" err="1">
                <a:latin typeface="Gotham HTF Light"/>
                <a:cs typeface="Gotham HTF Light"/>
              </a:rPr>
              <a:t>quais</a:t>
            </a:r>
            <a:r>
              <a:rPr lang="en-US" sz="1000" dirty="0">
                <a:latin typeface="Gotham HTF Light"/>
                <a:cs typeface="Gotham HTF Light"/>
              </a:rPr>
              <a:t> as </a:t>
            </a:r>
            <a:r>
              <a:rPr lang="en-US" sz="1000" dirty="0" err="1">
                <a:latin typeface="Gotham HTF Light"/>
                <a:cs typeface="Gotham HTF Light"/>
              </a:rPr>
              <a:t>dificuldades</a:t>
            </a:r>
            <a:r>
              <a:rPr lang="en-US" sz="1000" dirty="0">
                <a:latin typeface="Gotham HTF Light"/>
                <a:cs typeface="Gotham HTF Light"/>
              </a:rPr>
              <a:t> </a:t>
            </a:r>
            <a:r>
              <a:rPr lang="en-US" sz="1000" dirty="0" err="1">
                <a:latin typeface="Gotham HTF Light"/>
                <a:cs typeface="Gotham HTF Light"/>
              </a:rPr>
              <a:t>encontradas</a:t>
            </a:r>
            <a:r>
              <a:rPr lang="en-US" sz="1000" dirty="0">
                <a:latin typeface="Gotham HTF Light"/>
                <a:cs typeface="Gotham HTF Light"/>
              </a:rPr>
              <a:t> e </a:t>
            </a:r>
            <a:r>
              <a:rPr lang="en-US" sz="1000" dirty="0" err="1">
                <a:latin typeface="Gotham HTF Light"/>
                <a:cs typeface="Gotham HTF Light"/>
              </a:rPr>
              <a:t>como</a:t>
            </a:r>
            <a:r>
              <a:rPr lang="en-US" sz="1000" dirty="0">
                <a:latin typeface="Gotham HTF Light"/>
                <a:cs typeface="Gotham HTF Light"/>
              </a:rPr>
              <a:t> </a:t>
            </a:r>
            <a:r>
              <a:rPr lang="en-US" sz="1000" dirty="0" err="1">
                <a:latin typeface="Gotham HTF Light"/>
                <a:cs typeface="Gotham HTF Light"/>
              </a:rPr>
              <a:t>foram</a:t>
            </a:r>
            <a:r>
              <a:rPr lang="en-US" sz="1000" dirty="0">
                <a:latin typeface="Gotham HTF Light"/>
                <a:cs typeface="Gotham HTF Light"/>
              </a:rPr>
              <a:t> </a:t>
            </a:r>
            <a:r>
              <a:rPr lang="en-US" sz="1000" dirty="0" err="1">
                <a:latin typeface="Gotham HTF Light"/>
                <a:cs typeface="Gotham HTF Light"/>
              </a:rPr>
              <a:t>solucionadas</a:t>
            </a:r>
            <a:r>
              <a:rPr lang="en-US" sz="1000" dirty="0">
                <a:latin typeface="Gotham HTF Light"/>
                <a:cs typeface="Gotham HTF Light"/>
              </a:rPr>
              <a:t>;</a:t>
            </a:r>
          </a:p>
          <a:p>
            <a:pPr marL="1371600" lvl="2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v"/>
            </a:pPr>
            <a:r>
              <a:rPr lang="en-US" sz="1100" b="1" dirty="0">
                <a:latin typeface="Gotham HTF Light"/>
                <a:cs typeface="Gotham HTF Light"/>
              </a:rPr>
              <a:t>Hands-on</a:t>
            </a:r>
            <a:r>
              <a:rPr lang="en-US" sz="1100" dirty="0">
                <a:latin typeface="Gotham HTF Light"/>
                <a:cs typeface="Gotham HTF Light"/>
              </a:rPr>
              <a:t>:</a:t>
            </a:r>
          </a:p>
          <a:p>
            <a:pPr marL="1828800" lvl="3" indent="-457200">
              <a:lnSpc>
                <a:spcPct val="150000"/>
              </a:lnSpc>
              <a:buClr>
                <a:srgbClr val="ED145B"/>
              </a:buClr>
              <a:buFont typeface="Wingdings" panose="05000000000000000000" pitchFamily="2" charset="2"/>
              <a:buChar char="q"/>
            </a:pPr>
            <a:r>
              <a:rPr lang="en-US" sz="1050" dirty="0">
                <a:latin typeface="Gotham HTF Light"/>
                <a:cs typeface="Gotham HTF Light"/>
              </a:rPr>
              <a:t>O </a:t>
            </a:r>
            <a:r>
              <a:rPr lang="en-US" sz="1050" dirty="0" err="1">
                <a:latin typeface="Gotham HTF Light"/>
                <a:cs typeface="Gotham HTF Light"/>
              </a:rPr>
              <a:t>grupo</a:t>
            </a:r>
            <a:r>
              <a:rPr lang="en-US" sz="1050" dirty="0">
                <a:latin typeface="Gotham HTF Light"/>
                <a:cs typeface="Gotham HTF Light"/>
              </a:rPr>
              <a:t> </a:t>
            </a:r>
            <a:r>
              <a:rPr lang="en-US" sz="1050" dirty="0" err="1">
                <a:latin typeface="Gotham HTF Light"/>
                <a:cs typeface="Gotham HTF Light"/>
              </a:rPr>
              <a:t>irá</a:t>
            </a:r>
            <a:r>
              <a:rPr lang="en-US" sz="1050" dirty="0">
                <a:latin typeface="Gotham HTF Light"/>
                <a:cs typeface="Gotham HTF Light"/>
              </a:rPr>
              <a:t> </a:t>
            </a:r>
            <a:r>
              <a:rPr lang="en-US" sz="1050" dirty="0" err="1">
                <a:latin typeface="Gotham HTF Light"/>
                <a:cs typeface="Gotham HTF Light"/>
              </a:rPr>
              <a:t>montar</a:t>
            </a:r>
            <a:r>
              <a:rPr lang="en-US" sz="1050" dirty="0">
                <a:latin typeface="Gotham HTF Light"/>
                <a:cs typeface="Gotham HTF Light"/>
              </a:rPr>
              <a:t> o </a:t>
            </a:r>
            <a:r>
              <a:rPr lang="en-US" sz="1050" dirty="0" err="1">
                <a:latin typeface="Gotham HTF Light"/>
                <a:cs typeface="Gotham HTF Light"/>
              </a:rPr>
              <a:t>projeto</a:t>
            </a:r>
            <a:r>
              <a:rPr lang="en-US" sz="1050" dirty="0">
                <a:latin typeface="Gotham HTF Light"/>
                <a:cs typeface="Gotham HTF Light"/>
              </a:rPr>
              <a:t> </a:t>
            </a:r>
            <a:r>
              <a:rPr lang="en-US" sz="1050" dirty="0" err="1">
                <a:latin typeface="Gotham HTF Light"/>
                <a:cs typeface="Gotham HTF Light"/>
              </a:rPr>
              <a:t>em</a:t>
            </a:r>
            <a:r>
              <a:rPr lang="en-US" sz="1050" dirty="0">
                <a:latin typeface="Gotham HTF Light"/>
                <a:cs typeface="Gotham HTF Light"/>
              </a:rPr>
              <a:t> </a:t>
            </a:r>
            <a:r>
              <a:rPr lang="en-US" sz="1050" dirty="0" err="1">
                <a:latin typeface="Gotham HTF Light"/>
                <a:cs typeface="Gotham HTF Light"/>
              </a:rPr>
              <a:t>sala</a:t>
            </a:r>
            <a:r>
              <a:rPr lang="en-US" sz="1050" dirty="0">
                <a:latin typeface="Gotham HTF Light"/>
                <a:cs typeface="Gotham HTF Light"/>
              </a:rPr>
              <a:t> de aula e </a:t>
            </a:r>
            <a:r>
              <a:rPr lang="en-US" sz="1050" dirty="0" err="1">
                <a:latin typeface="Gotham HTF Light"/>
                <a:cs typeface="Gotham HTF Light"/>
              </a:rPr>
              <a:t>demonstrar</a:t>
            </a:r>
            <a:r>
              <a:rPr lang="en-US" sz="1050" dirty="0">
                <a:latin typeface="Gotham HTF Light"/>
                <a:cs typeface="Gotham HTF Light"/>
              </a:rPr>
              <a:t> o </a:t>
            </a:r>
            <a:r>
              <a:rPr lang="en-US" sz="1050" dirty="0" err="1">
                <a:latin typeface="Gotham HTF Light"/>
                <a:cs typeface="Gotham HTF Light"/>
              </a:rPr>
              <a:t>funcionamento</a:t>
            </a:r>
            <a:r>
              <a:rPr lang="en-US" sz="1050" dirty="0">
                <a:latin typeface="Gotham HTF Light"/>
                <a:cs typeface="Gotham HTF Light"/>
              </a:rPr>
              <a:t> para o professor;</a:t>
            </a:r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1600" dirty="0" err="1">
                <a:solidFill>
                  <a:srgbClr val="ED265B"/>
                </a:solidFill>
                <a:latin typeface="Gotham HTF Light"/>
                <a:cs typeface="Gotham HTF Light"/>
              </a:rPr>
              <a:t>Quando</a:t>
            </a:r>
            <a:r>
              <a:rPr lang="en-US" sz="1600" dirty="0">
                <a:solidFill>
                  <a:srgbClr val="ED265B"/>
                </a:solidFill>
                <a:latin typeface="Gotham HTF Light"/>
                <a:cs typeface="Gotham HTF Light"/>
              </a:rPr>
              <a:t>?</a:t>
            </a:r>
          </a:p>
          <a:p>
            <a:pPr marL="914400" lvl="1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100" dirty="0" err="1">
                <a:latin typeface="Gotham HTF Light"/>
                <a:cs typeface="Gotham HTF Light"/>
              </a:rPr>
              <a:t>Os</a:t>
            </a:r>
            <a:r>
              <a:rPr lang="en-US" sz="1100" dirty="0">
                <a:latin typeface="Gotham HTF Light"/>
                <a:cs typeface="Gotham HTF Light"/>
              </a:rPr>
              <a:t> checkpoints </a:t>
            </a:r>
            <a:r>
              <a:rPr lang="en-US" sz="1100" dirty="0" err="1">
                <a:latin typeface="Gotham HTF Light"/>
                <a:cs typeface="Gotham HTF Light"/>
              </a:rPr>
              <a:t>serão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divulgados</a:t>
            </a:r>
            <a:r>
              <a:rPr lang="en-US" sz="1100" dirty="0">
                <a:latin typeface="Gotham HTF Light"/>
                <a:cs typeface="Gotham HTF Light"/>
              </a:rPr>
              <a:t> com </a:t>
            </a:r>
            <a:r>
              <a:rPr lang="en-US" sz="1100" dirty="0" err="1">
                <a:latin typeface="Gotham HTF Light"/>
                <a:cs typeface="Gotham HTF Light"/>
              </a:rPr>
              <a:t>antecendência</a:t>
            </a:r>
            <a:r>
              <a:rPr lang="en-US" sz="1100" dirty="0">
                <a:latin typeface="Gotham HTF Light"/>
                <a:cs typeface="Gotham HTF Light"/>
              </a:rPr>
              <a:t> e a </a:t>
            </a:r>
            <a:r>
              <a:rPr lang="en-US" sz="1100" b="1" dirty="0" err="1">
                <a:latin typeface="Gotham HTF Light"/>
                <a:cs typeface="Gotham HTF Light"/>
              </a:rPr>
              <a:t>Documentação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deve</a:t>
            </a:r>
            <a:r>
              <a:rPr lang="en-US" sz="1100" dirty="0">
                <a:latin typeface="Gotham HTF Light"/>
                <a:cs typeface="Gotham HTF Light"/>
              </a:rPr>
              <a:t> ser </a:t>
            </a:r>
            <a:r>
              <a:rPr lang="en-US" sz="1100" dirty="0" err="1">
                <a:latin typeface="Gotham HTF Light"/>
                <a:cs typeface="Gotham HTF Light"/>
              </a:rPr>
              <a:t>realizada</a:t>
            </a:r>
            <a:r>
              <a:rPr lang="en-US" sz="1100" dirty="0">
                <a:latin typeface="Gotham HTF Light"/>
                <a:cs typeface="Gotham HTF Light"/>
              </a:rPr>
              <a:t> fora do </a:t>
            </a:r>
            <a:r>
              <a:rPr lang="en-US" sz="1100" dirty="0" err="1">
                <a:latin typeface="Gotham HTF Light"/>
                <a:cs typeface="Gotham HTF Light"/>
              </a:rPr>
              <a:t>horário</a:t>
            </a:r>
            <a:r>
              <a:rPr lang="en-US" sz="1100" dirty="0">
                <a:latin typeface="Gotham HTF Light"/>
                <a:cs typeface="Gotham HTF Light"/>
              </a:rPr>
              <a:t> de aula;</a:t>
            </a:r>
          </a:p>
          <a:p>
            <a:pPr marL="914400" lvl="1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100" dirty="0">
                <a:latin typeface="Gotham HTF Light"/>
                <a:cs typeface="Gotham HTF Light"/>
              </a:rPr>
              <a:t>O </a:t>
            </a:r>
            <a:r>
              <a:rPr lang="en-US" sz="1100" b="1" dirty="0">
                <a:latin typeface="Gotham HTF Light"/>
                <a:cs typeface="Gotham HTF Light"/>
              </a:rPr>
              <a:t>Hands-On </a:t>
            </a:r>
            <a:r>
              <a:rPr lang="en-US" sz="1100" dirty="0" err="1">
                <a:latin typeface="Gotham HTF Light"/>
                <a:cs typeface="Gotham HTF Light"/>
              </a:rPr>
              <a:t>será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realizado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em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sala</a:t>
            </a:r>
            <a:r>
              <a:rPr lang="en-US" sz="1100" dirty="0">
                <a:latin typeface="Gotham HTF Light"/>
                <a:cs typeface="Gotham HTF Light"/>
              </a:rPr>
              <a:t> de aula, </a:t>
            </a:r>
            <a:r>
              <a:rPr lang="en-US" sz="1100" dirty="0" err="1">
                <a:latin typeface="Gotham HTF Light"/>
                <a:cs typeface="Gotham HTF Light"/>
              </a:rPr>
              <a:t>na</a:t>
            </a:r>
            <a:r>
              <a:rPr lang="en-US" sz="1100" dirty="0">
                <a:latin typeface="Gotham HTF Light"/>
                <a:cs typeface="Gotham HTF Light"/>
              </a:rPr>
              <a:t> data </a:t>
            </a:r>
            <a:r>
              <a:rPr lang="en-US" sz="1100" dirty="0" err="1">
                <a:latin typeface="Gotham HTF Light"/>
                <a:cs typeface="Gotham HTF Light"/>
              </a:rPr>
              <a:t>marcada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pelo</a:t>
            </a:r>
            <a:r>
              <a:rPr lang="en-US" sz="1100" dirty="0">
                <a:latin typeface="Gotham HTF Light"/>
                <a:cs typeface="Gotham HTF Light"/>
              </a:rPr>
              <a:t> professor;</a:t>
            </a:r>
            <a:endParaRPr lang="en-US" sz="400" dirty="0">
              <a:solidFill>
                <a:srgbClr val="ED145B"/>
              </a:solidFill>
              <a:latin typeface="Gotham HTF Light"/>
              <a:cs typeface="Gotham HTF Light"/>
            </a:endParaRPr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1600" dirty="0">
                <a:solidFill>
                  <a:srgbClr val="ED265B"/>
                </a:solidFill>
                <a:latin typeface="Gotham HTF Light"/>
                <a:cs typeface="Gotham HTF Light"/>
              </a:rPr>
              <a:t>E a </a:t>
            </a:r>
            <a:r>
              <a:rPr lang="en-US" sz="1600" dirty="0" err="1">
                <a:solidFill>
                  <a:srgbClr val="ED265B"/>
                </a:solidFill>
                <a:latin typeface="Gotham HTF Light"/>
                <a:cs typeface="Gotham HTF Light"/>
              </a:rPr>
              <a:t>avaliação</a:t>
            </a:r>
            <a:r>
              <a:rPr lang="en-US" sz="1600" dirty="0">
                <a:solidFill>
                  <a:srgbClr val="ED265B"/>
                </a:solidFill>
                <a:latin typeface="Gotham HTF Light"/>
                <a:cs typeface="Gotham HTF Light"/>
              </a:rPr>
              <a:t>?</a:t>
            </a:r>
          </a:p>
          <a:p>
            <a:pPr marL="914400" lvl="1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100" dirty="0" err="1">
                <a:latin typeface="Gotham HTF Light"/>
                <a:cs typeface="Gotham HTF Light"/>
              </a:rPr>
              <a:t>Será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avalido</a:t>
            </a:r>
            <a:r>
              <a:rPr lang="en-US" sz="1100" dirty="0">
                <a:latin typeface="Gotham HTF Light"/>
                <a:cs typeface="Gotham HTF Light"/>
              </a:rPr>
              <a:t> pela </a:t>
            </a:r>
            <a:r>
              <a:rPr lang="en-US" sz="1100" dirty="0" err="1">
                <a:latin typeface="Gotham HTF Light"/>
                <a:cs typeface="Gotham HTF Light"/>
              </a:rPr>
              <a:t>clareza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na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documentação</a:t>
            </a:r>
            <a:r>
              <a:rPr lang="en-US" sz="1100" dirty="0">
                <a:latin typeface="Gotham HTF Light"/>
                <a:cs typeface="Gotham HTF Light"/>
              </a:rPr>
              <a:t> do </a:t>
            </a:r>
            <a:r>
              <a:rPr lang="en-US" sz="1100" dirty="0" err="1">
                <a:latin typeface="Gotham HTF Light"/>
                <a:cs typeface="Gotham HTF Light"/>
              </a:rPr>
              <a:t>projeto</a:t>
            </a:r>
            <a:r>
              <a:rPr lang="en-US" sz="1100" dirty="0">
                <a:latin typeface="Gotham HTF Light"/>
                <a:cs typeface="Gotham HTF Light"/>
              </a:rPr>
              <a:t> e pela </a:t>
            </a:r>
            <a:r>
              <a:rPr lang="en-US" sz="1100" dirty="0" err="1">
                <a:latin typeface="Gotham HTF Light"/>
                <a:cs typeface="Gotham HTF Light"/>
              </a:rPr>
              <a:t>implementação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correta</a:t>
            </a:r>
            <a:r>
              <a:rPr lang="en-US" sz="1100" dirty="0">
                <a:latin typeface="Gotham HTF Light"/>
                <a:cs typeface="Gotham HTF Light"/>
              </a:rPr>
              <a:t> no hands-on</a:t>
            </a:r>
            <a:r>
              <a:rPr lang="en-US" sz="1100" dirty="0">
                <a:solidFill>
                  <a:srgbClr val="ED265B"/>
                </a:solidFill>
                <a:latin typeface="Gotham HTF Light"/>
                <a:cs typeface="Gotham HTF Light"/>
              </a:rPr>
              <a:t>.</a:t>
            </a:r>
          </a:p>
          <a:p>
            <a:pPr marL="914400" lvl="1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en-US" sz="1100" dirty="0">
                <a:latin typeface="Gotham HTF Light"/>
                <a:cs typeface="Gotham HTF Light"/>
              </a:rPr>
              <a:t>O </a:t>
            </a:r>
            <a:r>
              <a:rPr lang="en-US" sz="1100" dirty="0" err="1">
                <a:latin typeface="Gotham HTF Light"/>
                <a:cs typeface="Gotham HTF Light"/>
              </a:rPr>
              <a:t>estudante</a:t>
            </a:r>
            <a:r>
              <a:rPr lang="en-US" sz="1100" dirty="0">
                <a:latin typeface="Gotham HTF Light"/>
                <a:cs typeface="Gotham HTF Light"/>
              </a:rPr>
              <a:t> é livre para </a:t>
            </a:r>
            <a:r>
              <a:rPr lang="en-US" sz="1100" dirty="0" err="1">
                <a:latin typeface="Gotham HTF Light"/>
                <a:cs typeface="Gotham HTF Light"/>
              </a:rPr>
              <a:t>consultar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exemplos</a:t>
            </a:r>
            <a:r>
              <a:rPr lang="en-US" sz="1100" dirty="0">
                <a:latin typeface="Gotham HTF Light"/>
                <a:cs typeface="Gotham HTF Light"/>
              </a:rPr>
              <a:t> e </a:t>
            </a:r>
            <a:r>
              <a:rPr lang="en-US" sz="1100" dirty="0" err="1">
                <a:latin typeface="Gotham HTF Light"/>
                <a:cs typeface="Gotham HTF Light"/>
              </a:rPr>
              <a:t>referencias</a:t>
            </a:r>
            <a:r>
              <a:rPr lang="en-US" sz="1100" dirty="0">
                <a:latin typeface="Gotham HTF Light"/>
                <a:cs typeface="Gotham HTF Light"/>
              </a:rPr>
              <a:t>, </a:t>
            </a:r>
            <a:r>
              <a:rPr lang="en-US" sz="1100" dirty="0" err="1">
                <a:latin typeface="Gotham HTF Light"/>
                <a:cs typeface="Gotham HTF Light"/>
              </a:rPr>
              <a:t>porém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qualquer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indicio</a:t>
            </a:r>
            <a:r>
              <a:rPr lang="en-US" sz="1100" dirty="0">
                <a:latin typeface="Gotham HTF Light"/>
                <a:cs typeface="Gotham HTF Light"/>
              </a:rPr>
              <a:t> de cola </a:t>
            </a:r>
            <a:r>
              <a:rPr lang="en-US" sz="1100" dirty="0" err="1">
                <a:latin typeface="Gotham HTF Light"/>
                <a:cs typeface="Gotham HTF Light"/>
              </a:rPr>
              <a:t>ou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plágio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resulta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em</a:t>
            </a:r>
            <a:r>
              <a:rPr lang="en-US" sz="1100" dirty="0">
                <a:latin typeface="Gotham HTF Light"/>
                <a:cs typeface="Gotham HTF Light"/>
              </a:rPr>
              <a:t> </a:t>
            </a:r>
            <a:r>
              <a:rPr lang="en-US" sz="1100" dirty="0" err="1">
                <a:latin typeface="Gotham HTF Light"/>
                <a:cs typeface="Gotham HTF Light"/>
              </a:rPr>
              <a:t>uma</a:t>
            </a:r>
            <a:r>
              <a:rPr lang="en-US" sz="1100" dirty="0">
                <a:latin typeface="Gotham HTF Light"/>
                <a:cs typeface="Gotham HTF Light"/>
              </a:rPr>
              <a:t> nota </a:t>
            </a:r>
            <a:r>
              <a:rPr lang="en-US" sz="1100" b="1" dirty="0">
                <a:latin typeface="Gotham HTF Light"/>
                <a:cs typeface="Gotham HTF Light"/>
              </a:rPr>
              <a:t>ZERO</a:t>
            </a:r>
            <a:r>
              <a:rPr lang="en-US" sz="1100" dirty="0">
                <a:latin typeface="Gotham HTF Light"/>
                <a:cs typeface="Gotham HTF Light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895287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heckpoints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796C8AA8-C3FA-2B50-C01C-439554D2CA64}"/>
              </a:ext>
            </a:extLst>
          </p:cNvPr>
          <p:cNvSpPr txBox="1"/>
          <p:nvPr/>
        </p:nvSpPr>
        <p:spPr>
          <a:xfrm>
            <a:off x="611560" y="912958"/>
            <a:ext cx="8280920" cy="45322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2400" dirty="0">
                <a:solidFill>
                  <a:srgbClr val="ED265B"/>
                </a:solidFill>
                <a:latin typeface="Gotham HTF Light"/>
                <a:cs typeface="Gotham HTF Light"/>
              </a:rPr>
              <a:t>Como é </a:t>
            </a:r>
            <a:r>
              <a:rPr lang="en-US" sz="2400" dirty="0" err="1">
                <a:solidFill>
                  <a:srgbClr val="ED265B"/>
                </a:solidFill>
                <a:latin typeface="Gotham HTF Light"/>
                <a:cs typeface="Gotham HTF Light"/>
              </a:rPr>
              <a:t>dividida</a:t>
            </a:r>
            <a:r>
              <a:rPr lang="en-US" sz="2400" dirty="0">
                <a:solidFill>
                  <a:srgbClr val="ED265B"/>
                </a:solidFill>
                <a:latin typeface="Gotham HTF Light"/>
                <a:cs typeface="Gotham HTF Light"/>
              </a:rPr>
              <a:t> a </a:t>
            </a:r>
            <a:r>
              <a:rPr lang="en-US" sz="2400" dirty="0" err="1">
                <a:solidFill>
                  <a:srgbClr val="ED265B"/>
                </a:solidFill>
                <a:latin typeface="Gotham HTF Light"/>
                <a:cs typeface="Gotham HTF Light"/>
              </a:rPr>
              <a:t>avaliação</a:t>
            </a:r>
            <a:r>
              <a:rPr lang="en-US" sz="2400" dirty="0">
                <a:solidFill>
                  <a:srgbClr val="ED265B"/>
                </a:solidFill>
                <a:latin typeface="Gotham HTF Light"/>
                <a:cs typeface="Gotham HTF Light"/>
              </a:rPr>
              <a:t> do checkpoint?</a:t>
            </a:r>
          </a:p>
          <a:p>
            <a:pPr marL="914400" lvl="1" indent="-4572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2000" dirty="0" err="1">
                <a:solidFill>
                  <a:srgbClr val="ED265B"/>
                </a:solidFill>
                <a:latin typeface="Gotham HTF Light"/>
                <a:cs typeface="Gotham HTF Light"/>
              </a:rPr>
              <a:t>Serão</a:t>
            </a:r>
            <a:r>
              <a:rPr lang="en-US" sz="2000" dirty="0">
                <a:solidFill>
                  <a:srgbClr val="ED265B"/>
                </a:solidFill>
                <a:latin typeface="Gotham HTF Light"/>
                <a:cs typeface="Gotham HTF Light"/>
              </a:rPr>
              <a:t> 10 </a:t>
            </a:r>
            <a:r>
              <a:rPr lang="en-US" sz="2000" dirty="0" err="1">
                <a:solidFill>
                  <a:srgbClr val="ED265B"/>
                </a:solidFill>
                <a:latin typeface="Gotham HTF Light"/>
                <a:cs typeface="Gotham HTF Light"/>
              </a:rPr>
              <a:t>pontos</a:t>
            </a:r>
            <a:r>
              <a:rPr lang="en-US" sz="2000" dirty="0">
                <a:solidFill>
                  <a:srgbClr val="ED265B"/>
                </a:solidFill>
                <a:latin typeface="Gotham HTF Light"/>
                <a:cs typeface="Gotham HTF Light"/>
              </a:rPr>
              <a:t> </a:t>
            </a:r>
            <a:r>
              <a:rPr lang="en-US" sz="2000" dirty="0" err="1">
                <a:solidFill>
                  <a:srgbClr val="ED265B"/>
                </a:solidFill>
                <a:latin typeface="Gotham HTF Light"/>
                <a:cs typeface="Gotham HTF Light"/>
              </a:rPr>
              <a:t>por</a:t>
            </a:r>
            <a:r>
              <a:rPr lang="en-US" sz="2000" dirty="0">
                <a:solidFill>
                  <a:srgbClr val="ED265B"/>
                </a:solidFill>
                <a:latin typeface="Gotham HTF Light"/>
                <a:cs typeface="Gotham HTF Light"/>
              </a:rPr>
              <a:t> checkpoint:</a:t>
            </a:r>
          </a:p>
          <a:p>
            <a:pPr marL="1371600" lvl="2" indent="-4572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600" dirty="0" err="1">
                <a:solidFill>
                  <a:srgbClr val="ED265B"/>
                </a:solidFill>
                <a:latin typeface="Gotham HTF Light"/>
                <a:cs typeface="Gotham HTF Light"/>
              </a:rPr>
              <a:t>Documentação</a:t>
            </a:r>
            <a:r>
              <a:rPr lang="en-US" sz="1600" dirty="0">
                <a:solidFill>
                  <a:srgbClr val="ED265B"/>
                </a:solidFill>
                <a:latin typeface="Gotham HTF Light"/>
                <a:cs typeface="Gotham HTF Light"/>
              </a:rPr>
              <a:t> – 5 </a:t>
            </a:r>
            <a:r>
              <a:rPr lang="en-US" sz="1600" dirty="0" err="1">
                <a:solidFill>
                  <a:srgbClr val="ED265B"/>
                </a:solidFill>
                <a:latin typeface="Gotham HTF Light"/>
                <a:cs typeface="Gotham HTF Light"/>
              </a:rPr>
              <a:t>pontos</a:t>
            </a:r>
            <a:r>
              <a:rPr lang="en-US" sz="1600" dirty="0">
                <a:solidFill>
                  <a:srgbClr val="ED265B"/>
                </a:solidFill>
                <a:latin typeface="Gotham HTF Light"/>
                <a:cs typeface="Gotham HTF Light"/>
              </a:rPr>
              <a:t>:</a:t>
            </a:r>
          </a:p>
          <a:p>
            <a:pPr marL="1828800" lvl="3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ü"/>
            </a:pPr>
            <a:r>
              <a:rPr lang="en-US" sz="1400" dirty="0">
                <a:latin typeface="Gotham HTF Light"/>
                <a:cs typeface="Gotham HTF Light"/>
              </a:rPr>
              <a:t>1 </a:t>
            </a:r>
            <a:r>
              <a:rPr lang="en-US" sz="1400" dirty="0" err="1">
                <a:latin typeface="Gotham HTF Light"/>
                <a:cs typeface="Gotham HTF Light"/>
              </a:rPr>
              <a:t>ponto</a:t>
            </a:r>
            <a:r>
              <a:rPr lang="en-US" sz="1400" dirty="0">
                <a:latin typeface="Gotham HTF Light"/>
                <a:cs typeface="Gotham HTF Light"/>
              </a:rPr>
              <a:t> pela </a:t>
            </a:r>
            <a:r>
              <a:rPr lang="en-US" sz="1400" dirty="0" err="1">
                <a:latin typeface="Gotham HTF Light"/>
                <a:cs typeface="Gotham HTF Light"/>
              </a:rPr>
              <a:t>clareza</a:t>
            </a:r>
            <a:r>
              <a:rPr lang="en-US" sz="1400" dirty="0">
                <a:latin typeface="Gotham HTF Light"/>
                <a:cs typeface="Gotham HTF Light"/>
              </a:rPr>
              <a:t> e </a:t>
            </a:r>
            <a:r>
              <a:rPr lang="en-US" sz="1400" dirty="0" err="1">
                <a:latin typeface="Gotham HTF Light"/>
                <a:cs typeface="Gotham HTF Light"/>
              </a:rPr>
              <a:t>composição</a:t>
            </a:r>
            <a:r>
              <a:rPr lang="en-US" sz="1400" dirty="0">
                <a:latin typeface="Gotham HTF Light"/>
                <a:cs typeface="Gotham HTF Light"/>
              </a:rPr>
              <a:t> do </a:t>
            </a:r>
            <a:r>
              <a:rPr lang="en-US" sz="1400" b="1" dirty="0">
                <a:latin typeface="Gotham HTF Light"/>
                <a:cs typeface="Gotham HTF Light"/>
              </a:rPr>
              <a:t>README;</a:t>
            </a:r>
          </a:p>
          <a:p>
            <a:pPr marL="1828800" lvl="3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ü"/>
            </a:pPr>
            <a:r>
              <a:rPr lang="en-US" sz="1400" dirty="0">
                <a:latin typeface="Gotham HTF Light"/>
                <a:cs typeface="Gotham HTF Light"/>
              </a:rPr>
              <a:t>1 </a:t>
            </a:r>
            <a:r>
              <a:rPr lang="en-US" sz="1400" dirty="0" err="1">
                <a:latin typeface="Gotham HTF Light"/>
                <a:cs typeface="Gotham HTF Light"/>
              </a:rPr>
              <a:t>ponto</a:t>
            </a:r>
            <a:r>
              <a:rPr lang="en-US" sz="1400" dirty="0">
                <a:latin typeface="Gotham HTF Light"/>
                <a:cs typeface="Gotham HTF Light"/>
              </a:rPr>
              <a:t> pela </a:t>
            </a:r>
            <a:r>
              <a:rPr lang="en-US" sz="1400" b="1" dirty="0" err="1">
                <a:latin typeface="Gotham HTF Light"/>
                <a:cs typeface="Gotham HTF Light"/>
              </a:rPr>
              <a:t>Imagem</a:t>
            </a:r>
            <a:r>
              <a:rPr lang="en-US" sz="1400" dirty="0">
                <a:latin typeface="Gotham HTF Light"/>
                <a:cs typeface="Gotham HTF Light"/>
              </a:rPr>
              <a:t> do </a:t>
            </a:r>
            <a:r>
              <a:rPr lang="en-US" sz="1400" dirty="0" err="1">
                <a:latin typeface="Gotham HTF Light"/>
                <a:cs typeface="Gotham HTF Light"/>
              </a:rPr>
              <a:t>circuito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montado</a:t>
            </a:r>
            <a:r>
              <a:rPr lang="en-US" sz="1400" dirty="0">
                <a:latin typeface="Gotham HTF Light"/>
                <a:cs typeface="Gotham HTF Light"/>
              </a:rPr>
              <a:t> no </a:t>
            </a:r>
            <a:r>
              <a:rPr lang="en-US" sz="1400" dirty="0" err="1">
                <a:latin typeface="Gotham HTF Light"/>
                <a:cs typeface="Gotham HTF Light"/>
              </a:rPr>
              <a:t>simulador</a:t>
            </a:r>
            <a:r>
              <a:rPr lang="en-US" sz="1400" dirty="0">
                <a:latin typeface="Gotham HTF Light"/>
                <a:cs typeface="Gotham HTF Light"/>
              </a:rPr>
              <a:t>;</a:t>
            </a:r>
          </a:p>
          <a:p>
            <a:pPr marL="1828800" lvl="3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ü"/>
            </a:pPr>
            <a:r>
              <a:rPr lang="en-US" sz="1400" dirty="0">
                <a:latin typeface="Gotham HTF Light"/>
                <a:cs typeface="Gotham HTF Light"/>
              </a:rPr>
              <a:t>1 </a:t>
            </a:r>
            <a:r>
              <a:rPr lang="en-US" sz="1400" dirty="0" err="1">
                <a:latin typeface="Gotham HTF Light"/>
                <a:cs typeface="Gotham HTF Light"/>
              </a:rPr>
              <a:t>ponto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pelo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circuito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implementado</a:t>
            </a:r>
            <a:r>
              <a:rPr lang="en-US" sz="1400" dirty="0">
                <a:latin typeface="Gotham HTF Light"/>
                <a:cs typeface="Gotham HTF Light"/>
              </a:rPr>
              <a:t> no </a:t>
            </a:r>
            <a:r>
              <a:rPr lang="en-US" sz="1400" b="1" dirty="0" err="1">
                <a:latin typeface="Gotham HTF Light"/>
                <a:cs typeface="Gotham HTF Light"/>
              </a:rPr>
              <a:t>Simulador</a:t>
            </a:r>
            <a:r>
              <a:rPr lang="en-US" sz="1400" b="1" dirty="0">
                <a:latin typeface="Gotham HTF Light"/>
                <a:cs typeface="Gotham HTF Light"/>
              </a:rPr>
              <a:t>;</a:t>
            </a:r>
            <a:endParaRPr lang="en-US" sz="1400" dirty="0">
              <a:latin typeface="Gotham HTF Light"/>
              <a:cs typeface="Gotham HTF Light"/>
            </a:endParaRPr>
          </a:p>
          <a:p>
            <a:pPr marL="1828800" lvl="3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ü"/>
            </a:pPr>
            <a:r>
              <a:rPr lang="en-US" sz="1400" dirty="0">
                <a:latin typeface="Gotham HTF Light"/>
                <a:cs typeface="Gotham HTF Light"/>
              </a:rPr>
              <a:t>1 </a:t>
            </a:r>
            <a:r>
              <a:rPr lang="en-US" sz="1400" dirty="0" err="1">
                <a:latin typeface="Gotham HTF Light"/>
                <a:cs typeface="Gotham HTF Light"/>
              </a:rPr>
              <a:t>ponto</a:t>
            </a:r>
            <a:r>
              <a:rPr lang="en-US" sz="1400" dirty="0">
                <a:latin typeface="Gotham HTF Light"/>
                <a:cs typeface="Gotham HTF Light"/>
              </a:rPr>
              <a:t> pela </a:t>
            </a:r>
            <a:r>
              <a:rPr lang="en-US" sz="1400" dirty="0" err="1">
                <a:latin typeface="Gotham HTF Light"/>
                <a:cs typeface="Gotham HTF Light"/>
              </a:rPr>
              <a:t>clareza</a:t>
            </a:r>
            <a:r>
              <a:rPr lang="en-US" sz="1400" dirty="0">
                <a:latin typeface="Gotham HTF Light"/>
                <a:cs typeface="Gotham HTF Light"/>
              </a:rPr>
              <a:t> e </a:t>
            </a:r>
            <a:r>
              <a:rPr lang="en-US" sz="1400" dirty="0" err="1">
                <a:latin typeface="Gotham HTF Light"/>
                <a:cs typeface="Gotham HTF Light"/>
              </a:rPr>
              <a:t>composição</a:t>
            </a:r>
            <a:r>
              <a:rPr lang="en-US" sz="1400" dirty="0">
                <a:latin typeface="Gotham HTF Light"/>
                <a:cs typeface="Gotham HTF Light"/>
              </a:rPr>
              <a:t> do </a:t>
            </a:r>
            <a:r>
              <a:rPr lang="en-US" sz="1400" b="1" dirty="0">
                <a:latin typeface="Gotham HTF Light"/>
                <a:cs typeface="Gotham HTF Light"/>
              </a:rPr>
              <a:t>Código Fonte</a:t>
            </a:r>
            <a:r>
              <a:rPr lang="en-US" sz="1400" dirty="0">
                <a:latin typeface="Gotham HTF Light"/>
                <a:cs typeface="Gotham HTF Light"/>
              </a:rPr>
              <a:t>;</a:t>
            </a:r>
          </a:p>
          <a:p>
            <a:pPr marL="1828800" lvl="3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ü"/>
            </a:pPr>
            <a:r>
              <a:rPr lang="en-US" sz="1400" dirty="0">
                <a:latin typeface="Gotham HTF Light"/>
                <a:cs typeface="Gotham HTF Light"/>
              </a:rPr>
              <a:t>1 </a:t>
            </a:r>
            <a:r>
              <a:rPr lang="en-US" sz="1400" dirty="0" err="1">
                <a:latin typeface="Gotham HTF Light"/>
                <a:cs typeface="Gotham HTF Light"/>
              </a:rPr>
              <a:t>ponto</a:t>
            </a:r>
            <a:r>
              <a:rPr lang="en-US" sz="1400" dirty="0">
                <a:latin typeface="Gotham HTF Light"/>
                <a:cs typeface="Gotham HTF Light"/>
              </a:rPr>
              <a:t> pela </a:t>
            </a:r>
            <a:r>
              <a:rPr lang="en-US" sz="1400" dirty="0" err="1">
                <a:latin typeface="Gotham HTF Light"/>
                <a:cs typeface="Gotham HTF Light"/>
              </a:rPr>
              <a:t>clareza</a:t>
            </a:r>
            <a:r>
              <a:rPr lang="en-US" sz="1400" dirty="0">
                <a:latin typeface="Gotham HTF Light"/>
                <a:cs typeface="Gotham HTF Light"/>
              </a:rPr>
              <a:t> do </a:t>
            </a:r>
            <a:r>
              <a:rPr lang="en-US" sz="1400" b="1" dirty="0">
                <a:latin typeface="Gotham HTF Light"/>
                <a:cs typeface="Gotham HTF Light"/>
              </a:rPr>
              <a:t>Video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explicativo</a:t>
            </a:r>
            <a:r>
              <a:rPr lang="en-US" sz="1400" dirty="0">
                <a:latin typeface="Gotham HTF Light"/>
                <a:cs typeface="Gotham HTF Light"/>
              </a:rPr>
              <a:t>;</a:t>
            </a:r>
          </a:p>
          <a:p>
            <a:pPr marL="1371600" lvl="2" indent="-4572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600" dirty="0" err="1">
                <a:solidFill>
                  <a:srgbClr val="ED145B"/>
                </a:solidFill>
                <a:latin typeface="Gotham HTF Light"/>
                <a:cs typeface="Gotham HTF Light"/>
              </a:rPr>
              <a:t>Hands-ON</a:t>
            </a:r>
            <a:r>
              <a:rPr lang="en-US" sz="1600" dirty="0">
                <a:solidFill>
                  <a:srgbClr val="ED145B"/>
                </a:solidFill>
                <a:latin typeface="Gotham HTF Light"/>
                <a:cs typeface="Gotham HTF Light"/>
              </a:rPr>
              <a:t> – 5 </a:t>
            </a:r>
            <a:r>
              <a:rPr lang="en-US" sz="1600" dirty="0" err="1">
                <a:solidFill>
                  <a:srgbClr val="ED145B"/>
                </a:solidFill>
                <a:latin typeface="Gotham HTF Light"/>
                <a:cs typeface="Gotham HTF Light"/>
              </a:rPr>
              <a:t>pontos</a:t>
            </a:r>
            <a:r>
              <a:rPr lang="en-US" sz="1600" dirty="0">
                <a:solidFill>
                  <a:srgbClr val="ED145B"/>
                </a:solidFill>
                <a:latin typeface="Gotham HTF Light"/>
                <a:cs typeface="Gotham HTF Light"/>
              </a:rPr>
              <a:t>:</a:t>
            </a:r>
          </a:p>
          <a:p>
            <a:pPr marL="1828800" lvl="3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ü"/>
            </a:pPr>
            <a:r>
              <a:rPr lang="en-US" sz="1400" dirty="0">
                <a:latin typeface="Gotham HTF Light"/>
                <a:cs typeface="Gotham HTF Light"/>
              </a:rPr>
              <a:t>1 </a:t>
            </a:r>
            <a:r>
              <a:rPr lang="en-US" sz="1400" dirty="0" err="1">
                <a:latin typeface="Gotham HTF Light"/>
                <a:cs typeface="Gotham HTF Light"/>
              </a:rPr>
              <a:t>ponto</a:t>
            </a:r>
            <a:r>
              <a:rPr lang="en-US" sz="1400" dirty="0">
                <a:latin typeface="Gotham HTF Light"/>
                <a:cs typeface="Gotham HTF Light"/>
              </a:rPr>
              <a:t> pela </a:t>
            </a:r>
            <a:r>
              <a:rPr lang="en-US" sz="1400" dirty="0" err="1">
                <a:latin typeface="Gotham HTF Light"/>
                <a:cs typeface="Gotham HTF Light"/>
              </a:rPr>
              <a:t>organização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na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montagem</a:t>
            </a:r>
            <a:r>
              <a:rPr lang="en-US" sz="1400" dirty="0">
                <a:latin typeface="Gotham HTF Light"/>
                <a:cs typeface="Gotham HTF Light"/>
              </a:rPr>
              <a:t> do </a:t>
            </a:r>
            <a:r>
              <a:rPr lang="en-US" sz="1400" dirty="0" err="1">
                <a:latin typeface="Gotham HTF Light"/>
                <a:cs typeface="Gotham HTF Light"/>
              </a:rPr>
              <a:t>projeto</a:t>
            </a:r>
            <a:r>
              <a:rPr lang="en-US" sz="1400" dirty="0">
                <a:latin typeface="Gotham HTF Light"/>
                <a:cs typeface="Gotham HTF Light"/>
              </a:rPr>
              <a:t>;</a:t>
            </a:r>
          </a:p>
          <a:p>
            <a:pPr marL="1828800" lvl="3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ü"/>
            </a:pPr>
            <a:r>
              <a:rPr lang="en-US" sz="1400" dirty="0">
                <a:latin typeface="Gotham HTF Light"/>
                <a:cs typeface="Gotham HTF Light"/>
              </a:rPr>
              <a:t>2 </a:t>
            </a:r>
            <a:r>
              <a:rPr lang="en-US" sz="1400" dirty="0" err="1">
                <a:latin typeface="Gotham HTF Light"/>
                <a:cs typeface="Gotham HTF Light"/>
              </a:rPr>
              <a:t>pontos</a:t>
            </a:r>
            <a:r>
              <a:rPr lang="en-US" sz="1400" dirty="0">
                <a:latin typeface="Gotham HTF Light"/>
                <a:cs typeface="Gotham HTF Light"/>
              </a:rPr>
              <a:t> pela </a:t>
            </a:r>
            <a:r>
              <a:rPr lang="en-US" sz="1400" dirty="0" err="1">
                <a:latin typeface="Gotham HTF Light"/>
                <a:cs typeface="Gotham HTF Light"/>
              </a:rPr>
              <a:t>arguição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realizada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pelo</a:t>
            </a:r>
            <a:r>
              <a:rPr lang="en-US" sz="1400" dirty="0">
                <a:latin typeface="Gotham HTF Light"/>
                <a:cs typeface="Gotham HTF Light"/>
              </a:rPr>
              <a:t> professor;</a:t>
            </a:r>
          </a:p>
          <a:p>
            <a:pPr marL="1828800" lvl="3" indent="-45720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ü"/>
            </a:pPr>
            <a:r>
              <a:rPr lang="en-US" sz="1400" dirty="0">
                <a:latin typeface="Gotham HTF Light"/>
                <a:cs typeface="Gotham HTF Light"/>
              </a:rPr>
              <a:t>3 </a:t>
            </a:r>
            <a:r>
              <a:rPr lang="en-US" sz="1400" dirty="0" err="1">
                <a:latin typeface="Gotham HTF Light"/>
                <a:cs typeface="Gotham HTF Light"/>
              </a:rPr>
              <a:t>pontos</a:t>
            </a:r>
            <a:r>
              <a:rPr lang="en-US" sz="1400" dirty="0">
                <a:latin typeface="Gotham HTF Light"/>
                <a:cs typeface="Gotham HTF Light"/>
              </a:rPr>
              <a:t> pela </a:t>
            </a:r>
            <a:r>
              <a:rPr lang="en-US" sz="1400" dirty="0" err="1">
                <a:latin typeface="Gotham HTF Light"/>
                <a:cs typeface="Gotham HTF Light"/>
              </a:rPr>
              <a:t>demonstração</a:t>
            </a:r>
            <a:r>
              <a:rPr lang="en-US" sz="1400" dirty="0">
                <a:latin typeface="Gotham HTF Light"/>
                <a:cs typeface="Gotham HTF Light"/>
              </a:rPr>
              <a:t> do </a:t>
            </a:r>
            <a:r>
              <a:rPr lang="en-US" sz="1400" dirty="0" err="1">
                <a:latin typeface="Gotham HTF Light"/>
                <a:cs typeface="Gotham HTF Light"/>
              </a:rPr>
              <a:t>projeto</a:t>
            </a:r>
            <a:r>
              <a:rPr lang="en-US" sz="1400" dirty="0">
                <a:latin typeface="Gotham HTF Light"/>
                <a:cs typeface="Gotham HTF Light"/>
              </a:rPr>
              <a:t> </a:t>
            </a:r>
            <a:r>
              <a:rPr lang="en-US" sz="1400" dirty="0" err="1">
                <a:latin typeface="Gotham HTF Light"/>
                <a:cs typeface="Gotham HTF Light"/>
              </a:rPr>
              <a:t>funcionando</a:t>
            </a:r>
            <a:r>
              <a:rPr lang="en-US" sz="1400" dirty="0">
                <a:latin typeface="Gotham HTF Light"/>
                <a:cs typeface="Gotham HTF Light"/>
              </a:rPr>
              <a:t>;</a:t>
            </a:r>
          </a:p>
        </p:txBody>
      </p:sp>
    </p:spTree>
    <p:extLst>
      <p:ext uri="{BB962C8B-B14F-4D97-AF65-F5344CB8AC3E}">
        <p14:creationId xmlns:p14="http://schemas.microsoft.com/office/powerpoint/2010/main" val="1110119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200834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Datas importantes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41D6A5ED-2EC5-FFB6-A726-9EF478AD48FD}"/>
              </a:ext>
            </a:extLst>
          </p:cNvPr>
          <p:cNvSpPr txBox="1"/>
          <p:nvPr/>
        </p:nvSpPr>
        <p:spPr>
          <a:xfrm>
            <a:off x="611560" y="1242855"/>
            <a:ext cx="8280920" cy="41303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de-DE" sz="2000" b="1" dirty="0">
                <a:latin typeface="Gotham HTF"/>
                <a:cs typeface="Roboto Light"/>
              </a:rPr>
              <a:t>28 de Outubro de 2023 – </a:t>
            </a:r>
            <a:r>
              <a:rPr lang="de-DE" sz="2000" b="1" dirty="0">
                <a:solidFill>
                  <a:srgbClr val="ED265B"/>
                </a:solidFill>
                <a:latin typeface="Gotham HTF"/>
                <a:cs typeface="Roboto Light"/>
              </a:rPr>
              <a:t>NEXT</a:t>
            </a:r>
            <a:r>
              <a:rPr lang="de-DE" sz="2000" b="1" dirty="0">
                <a:latin typeface="Gotham HTF"/>
                <a:cs typeface="Roboto Light"/>
              </a:rPr>
              <a:t>;</a:t>
            </a:r>
          </a:p>
          <a:p>
            <a:pPr>
              <a:lnSpc>
                <a:spcPct val="120000"/>
              </a:lnSpc>
            </a:pPr>
            <a:endParaRPr lang="de-DE" sz="2000" b="1" dirty="0">
              <a:latin typeface="Gotham HTF"/>
              <a:cs typeface="Roboto Light"/>
            </a:endParaRPr>
          </a:p>
          <a:p>
            <a:pPr>
              <a:lnSpc>
                <a:spcPct val="120000"/>
              </a:lnSpc>
            </a:pPr>
            <a:r>
              <a:rPr lang="de-DE" sz="2000" b="1" dirty="0">
                <a:latin typeface="Gotham HTF"/>
                <a:cs typeface="Roboto Light"/>
              </a:rPr>
              <a:t>13 de Novembro de 2023 – </a:t>
            </a:r>
            <a:r>
              <a:rPr lang="de-DE" sz="2000" b="1" dirty="0">
                <a:solidFill>
                  <a:srgbClr val="ED265B"/>
                </a:solidFill>
                <a:latin typeface="Gotham HTF"/>
                <a:cs typeface="Roboto Light"/>
              </a:rPr>
              <a:t>Kick Off da Global Solutions</a:t>
            </a:r>
            <a:r>
              <a:rPr lang="de-DE" sz="2000" b="1" dirty="0">
                <a:latin typeface="Gotham HTF"/>
                <a:cs typeface="Roboto Light"/>
              </a:rPr>
              <a:t>;</a:t>
            </a:r>
          </a:p>
          <a:p>
            <a:pPr>
              <a:lnSpc>
                <a:spcPct val="120000"/>
              </a:lnSpc>
            </a:pPr>
            <a:r>
              <a:rPr lang="de-DE" sz="2000" b="1" dirty="0">
                <a:latin typeface="Gotham HTF"/>
                <a:cs typeface="Roboto Light"/>
              </a:rPr>
              <a:t>	13 a 24 de Novembro – </a:t>
            </a:r>
            <a:r>
              <a:rPr lang="de-DE" sz="2000" b="1" dirty="0">
                <a:solidFill>
                  <a:srgbClr val="ED265B"/>
                </a:solidFill>
                <a:latin typeface="Gotham HTF"/>
                <a:cs typeface="Roboto Light"/>
              </a:rPr>
              <a:t>Global Solutions</a:t>
            </a:r>
            <a:r>
              <a:rPr lang="de-DE" sz="2000" b="1" dirty="0">
                <a:latin typeface="Gotham HTF"/>
                <a:cs typeface="Roboto Light"/>
              </a:rPr>
              <a:t>;</a:t>
            </a:r>
          </a:p>
          <a:p>
            <a:pPr>
              <a:lnSpc>
                <a:spcPct val="120000"/>
              </a:lnSpc>
            </a:pPr>
            <a:endParaRPr lang="de-DE" sz="2000" b="1" dirty="0">
              <a:latin typeface="Gotham HTF"/>
              <a:cs typeface="Roboto Light"/>
            </a:endParaRPr>
          </a:p>
          <a:p>
            <a:pPr>
              <a:lnSpc>
                <a:spcPct val="120000"/>
              </a:lnSpc>
            </a:pPr>
            <a:r>
              <a:rPr lang="de-DE" sz="2000" b="1" dirty="0">
                <a:latin typeface="Gotham HTF"/>
                <a:cs typeface="Roboto Light"/>
              </a:rPr>
              <a:t>23 a 24 de Novembro – </a:t>
            </a:r>
            <a:r>
              <a:rPr lang="de-DE" sz="2000" b="1" dirty="0">
                <a:solidFill>
                  <a:srgbClr val="ED265B"/>
                </a:solidFill>
                <a:latin typeface="Gotham HTF"/>
                <a:cs typeface="Roboto Light"/>
              </a:rPr>
              <a:t>Período de Solicitação das Substitutivas</a:t>
            </a:r>
            <a:r>
              <a:rPr lang="de-DE" sz="2000" b="1" dirty="0">
                <a:latin typeface="Gotham HTF"/>
                <a:cs typeface="Roboto Light"/>
              </a:rPr>
              <a:t>;</a:t>
            </a:r>
          </a:p>
          <a:p>
            <a:pPr>
              <a:lnSpc>
                <a:spcPct val="120000"/>
              </a:lnSpc>
            </a:pPr>
            <a:endParaRPr lang="de-DE" sz="2000" b="1" dirty="0">
              <a:latin typeface="Gotham HTF"/>
              <a:cs typeface="Roboto Light"/>
            </a:endParaRPr>
          </a:p>
          <a:p>
            <a:pPr>
              <a:lnSpc>
                <a:spcPct val="120000"/>
              </a:lnSpc>
            </a:pPr>
            <a:r>
              <a:rPr lang="de-DE" sz="2000" b="1" dirty="0">
                <a:latin typeface="Gotham HTF"/>
                <a:cs typeface="Roboto Light"/>
              </a:rPr>
              <a:t>27 de Novembro a 01 de Dezembro – </a:t>
            </a:r>
            <a:r>
              <a:rPr lang="de-DE" sz="2000" b="1" dirty="0">
                <a:solidFill>
                  <a:srgbClr val="ED265B"/>
                </a:solidFill>
                <a:latin typeface="Gotham HTF"/>
                <a:cs typeface="Roboto Light"/>
              </a:rPr>
              <a:t>Aplicação das Substitutívas</a:t>
            </a:r>
            <a:r>
              <a:rPr lang="de-DE" sz="2000" b="1" dirty="0">
                <a:latin typeface="Gotham HTF"/>
                <a:cs typeface="Roboto Light"/>
              </a:rPr>
              <a:t>;</a:t>
            </a:r>
          </a:p>
          <a:p>
            <a:pPr>
              <a:lnSpc>
                <a:spcPct val="120000"/>
              </a:lnSpc>
            </a:pPr>
            <a:endParaRPr lang="de-DE" sz="2000" b="1" dirty="0">
              <a:latin typeface="Gotham HTF"/>
              <a:cs typeface="Roboto Light"/>
            </a:endParaRPr>
          </a:p>
          <a:p>
            <a:pPr>
              <a:lnSpc>
                <a:spcPct val="120000"/>
              </a:lnSpc>
            </a:pPr>
            <a:r>
              <a:rPr lang="de-DE" sz="2000" b="1" dirty="0">
                <a:latin typeface="Gotham HTF"/>
                <a:cs typeface="Roboto Light"/>
              </a:rPr>
              <a:t>04 a 08 de Dezembro – </a:t>
            </a:r>
            <a:r>
              <a:rPr lang="de-DE" sz="2000" b="1" dirty="0">
                <a:solidFill>
                  <a:srgbClr val="ED265B"/>
                </a:solidFill>
                <a:latin typeface="Gotham HTF"/>
                <a:cs typeface="Roboto Light"/>
              </a:rPr>
              <a:t>Aplicação dos Exames</a:t>
            </a:r>
            <a:r>
              <a:rPr lang="de-DE" sz="2000" b="1" dirty="0">
                <a:latin typeface="Gotham HTF"/>
                <a:cs typeface="Roboto Light"/>
              </a:rPr>
              <a:t>;</a:t>
            </a:r>
          </a:p>
          <a:p>
            <a:pPr>
              <a:lnSpc>
                <a:spcPct val="120000"/>
              </a:lnSpc>
            </a:pPr>
            <a:endParaRPr lang="de-DE" sz="2000" b="1" dirty="0">
              <a:latin typeface="Gotham HTF"/>
              <a:cs typeface="Roboto Light"/>
            </a:endParaRPr>
          </a:p>
        </p:txBody>
      </p:sp>
    </p:spTree>
    <p:extLst>
      <p:ext uri="{BB962C8B-B14F-4D97-AF65-F5344CB8AC3E}">
        <p14:creationId xmlns:p14="http://schemas.microsoft.com/office/powerpoint/2010/main" val="2757266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Calendário 2º Semestre</a:t>
            </a:r>
          </a:p>
        </p:txBody>
      </p:sp>
      <p:graphicFrame>
        <p:nvGraphicFramePr>
          <p:cNvPr id="2" name="Tabela 2">
            <a:extLst>
              <a:ext uri="{FF2B5EF4-FFF2-40B4-BE49-F238E27FC236}">
                <a16:creationId xmlns:a16="http://schemas.microsoft.com/office/drawing/2014/main" id="{2775B54B-01E7-8B55-8F81-04C8E761F9F1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5142333"/>
              </p:ext>
            </p:extLst>
          </p:nvPr>
        </p:nvGraphicFramePr>
        <p:xfrm>
          <a:off x="323528" y="1089371"/>
          <a:ext cx="8234893" cy="5036090"/>
        </p:xfrm>
        <a:graphic>
          <a:graphicData uri="http://schemas.openxmlformats.org/drawingml/2006/table">
            <a:tbl>
              <a:tblPr firstRow="1" bandRow="1">
                <a:tableStyleId>{8EC20E35-A176-4012-BC5E-935CFFF8708E}</a:tableStyleId>
              </a:tblPr>
              <a:tblGrid>
                <a:gridCol w="463867">
                  <a:extLst>
                    <a:ext uri="{9D8B030D-6E8A-4147-A177-3AD203B41FA5}">
                      <a16:colId xmlns:a16="http://schemas.microsoft.com/office/drawing/2014/main" val="2693078763"/>
                    </a:ext>
                  </a:extLst>
                </a:gridCol>
                <a:gridCol w="1726895">
                  <a:extLst>
                    <a:ext uri="{9D8B030D-6E8A-4147-A177-3AD203B41FA5}">
                      <a16:colId xmlns:a16="http://schemas.microsoft.com/office/drawing/2014/main" val="4220425498"/>
                    </a:ext>
                  </a:extLst>
                </a:gridCol>
                <a:gridCol w="4160246">
                  <a:extLst>
                    <a:ext uri="{9D8B030D-6E8A-4147-A177-3AD203B41FA5}">
                      <a16:colId xmlns:a16="http://schemas.microsoft.com/office/drawing/2014/main" val="1150807886"/>
                    </a:ext>
                  </a:extLst>
                </a:gridCol>
                <a:gridCol w="1883885">
                  <a:extLst>
                    <a:ext uri="{9D8B030D-6E8A-4147-A177-3AD203B41FA5}">
                      <a16:colId xmlns:a16="http://schemas.microsoft.com/office/drawing/2014/main" val="2945034481"/>
                    </a:ext>
                  </a:extLst>
                </a:gridCol>
              </a:tblGrid>
              <a:tr h="333595">
                <a:tc>
                  <a:txBody>
                    <a:bodyPr/>
                    <a:lstStyle/>
                    <a:p>
                      <a:pPr algn="ctr"/>
                      <a:r>
                        <a:rPr lang="pt-BR" sz="1050" dirty="0">
                          <a:latin typeface="Gotham HTF"/>
                        </a:rPr>
                        <a:t>Aula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50" dirty="0">
                          <a:latin typeface="Gotham HTF"/>
                        </a:rPr>
                        <a:t>Data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50" dirty="0">
                          <a:latin typeface="Gotham HTF"/>
                        </a:rPr>
                        <a:t>Conteúdo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50" dirty="0">
                          <a:latin typeface="Gotham HTF"/>
                        </a:rPr>
                        <a:t>Observações</a:t>
                      </a:r>
                    </a:p>
                  </a:txBody>
                  <a:tcPr anchor="ctr">
                    <a:solidFill>
                      <a:srgbClr val="ED26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0658431"/>
                  </a:ext>
                </a:extLst>
              </a:tr>
              <a:tr h="333595"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dirty="0">
                          <a:latin typeface="Gotham HTF"/>
                        </a:rPr>
                        <a:t>02/08; 07/08; 08/0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dirty="0">
                          <a:latin typeface="Gotham HTF"/>
                        </a:rPr>
                        <a:t>Aula 00 – Aula Magna e Orientações</a:t>
                      </a:r>
                    </a:p>
                    <a:p>
                      <a:r>
                        <a:rPr lang="pt-BR" sz="900" dirty="0">
                          <a:latin typeface="Gotham HTF"/>
                        </a:rPr>
                        <a:t>Aula 01 – Sistema de </a:t>
                      </a:r>
                      <a:r>
                        <a:rPr lang="pt-BR" sz="900" dirty="0" err="1">
                          <a:latin typeface="Gotham HTF"/>
                        </a:rPr>
                        <a:t>Clock</a:t>
                      </a:r>
                      <a:r>
                        <a:rPr lang="pt-BR" sz="900" dirty="0">
                          <a:latin typeface="Gotham HTF"/>
                        </a:rPr>
                        <a:t>, RTC e </a:t>
                      </a:r>
                      <a:r>
                        <a:rPr lang="pt-BR" sz="900" dirty="0" err="1">
                          <a:latin typeface="Gotham HTF"/>
                        </a:rPr>
                        <a:t>Watchdog</a:t>
                      </a:r>
                      <a:endParaRPr lang="pt-BR" sz="900" dirty="0">
                        <a:latin typeface="Gotham HTF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dirty="0">
                          <a:latin typeface="Gotham HTF"/>
                        </a:rPr>
                        <a:t>Ok</a:t>
                      </a:r>
                    </a:p>
                    <a:p>
                      <a:endParaRPr lang="pt-BR" sz="900" dirty="0">
                        <a:latin typeface="Gotham HTF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79989962"/>
                  </a:ext>
                </a:extLst>
              </a:tr>
              <a:tr h="333595"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dirty="0">
                          <a:latin typeface="Gotham HTF"/>
                        </a:rPr>
                        <a:t>09/08; 14/08; 15/0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dirty="0">
                          <a:latin typeface="Gotham HTF"/>
                        </a:rPr>
                        <a:t>Aula 02 – Padrões de Comunicaçã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rgbClr val="FF0000"/>
                          </a:solidFill>
                          <a:latin typeface="Gotham HTF"/>
                        </a:rPr>
                        <a:t>O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49427757"/>
                  </a:ext>
                </a:extLst>
              </a:tr>
              <a:tr h="333595"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0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dirty="0">
                          <a:latin typeface="Gotham HTF"/>
                        </a:rPr>
                        <a:t>16/08; 21/08; 22/0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dirty="0">
                          <a:latin typeface="Gotham HTF"/>
                        </a:rPr>
                        <a:t>Aula 04 – Introdução a Internet das Coisa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dirty="0">
                          <a:solidFill>
                            <a:srgbClr val="FF0000"/>
                          </a:solidFill>
                          <a:latin typeface="Gotham HTF"/>
                        </a:rPr>
                        <a:t>O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24539082"/>
                  </a:ext>
                </a:extLst>
              </a:tr>
              <a:tr h="333595"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0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dirty="0">
                          <a:latin typeface="Gotham HTF"/>
                        </a:rPr>
                        <a:t>23/08; 28/08; 29/08; 30/0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dirty="0">
                          <a:latin typeface="Gotham HTF"/>
                        </a:rPr>
                        <a:t>Aula 05 – WiFi + HTT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dirty="0">
                          <a:solidFill>
                            <a:srgbClr val="FF0000"/>
                          </a:solidFill>
                          <a:latin typeface="Gotham HTF"/>
                        </a:rPr>
                        <a:t>o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5748631"/>
                  </a:ext>
                </a:extLst>
              </a:tr>
              <a:tr h="333595"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strike="sngStrike" baseline="0" dirty="0">
                          <a:latin typeface="Gotham HTF"/>
                        </a:rPr>
                        <a:t>30/08</a:t>
                      </a:r>
                      <a:r>
                        <a:rPr lang="pt-BR" sz="900" dirty="0">
                          <a:latin typeface="Gotham HTF"/>
                        </a:rPr>
                        <a:t>; 04/09; 05/09; 6/0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dirty="0">
                          <a:latin typeface="Gotham HTF"/>
                        </a:rPr>
                        <a:t>Aula 06 – Protocolo MQT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900" dirty="0">
                        <a:latin typeface="Gotham HTF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27146036"/>
                  </a:ext>
                </a:extLst>
              </a:tr>
              <a:tr h="333595"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0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strike="sngStrike" dirty="0">
                          <a:latin typeface="Gotham HTF"/>
                        </a:rPr>
                        <a:t>06/09;  </a:t>
                      </a:r>
                      <a:r>
                        <a:rPr lang="pt-BR" sz="900" dirty="0">
                          <a:latin typeface="Gotham HTF"/>
                        </a:rPr>
                        <a:t>11/09; 12/09; 13/0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Aula 07 – Plataformas IoT – Conectores HTT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dirty="0">
                          <a:solidFill>
                            <a:srgbClr val="FF0000"/>
                          </a:solidFill>
                          <a:latin typeface="Gotham HTF"/>
                        </a:rPr>
                        <a:t>o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87898213"/>
                  </a:ext>
                </a:extLst>
              </a:tr>
              <a:tr h="333595"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0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strike="sngStrike" dirty="0">
                          <a:latin typeface="Gotham HTF"/>
                        </a:rPr>
                        <a:t>13/09; </a:t>
                      </a:r>
                      <a:r>
                        <a:rPr lang="pt-BR" sz="900" dirty="0">
                          <a:latin typeface="Gotham HTF"/>
                        </a:rPr>
                        <a:t>18/09; 19/09; 20/0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Aula 08 – Plataformas IoT – </a:t>
                      </a:r>
                      <a:r>
                        <a:rPr lang="pt-BR" sz="900">
                          <a:solidFill>
                            <a:schemeClr val="tx1"/>
                          </a:solidFill>
                          <a:latin typeface="Gotham HTF"/>
                        </a:rPr>
                        <a:t>Conectores  MQTT</a:t>
                      </a:r>
                      <a:endParaRPr lang="pt-BR" sz="900" dirty="0">
                        <a:solidFill>
                          <a:schemeClr val="tx1"/>
                        </a:solidFill>
                        <a:latin typeface="Gotham HTF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900" dirty="0">
                        <a:solidFill>
                          <a:srgbClr val="FF0000"/>
                        </a:solidFill>
                        <a:latin typeface="Gotham HTF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8113184"/>
                  </a:ext>
                </a:extLst>
              </a:tr>
              <a:tr h="333595"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0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strike="sngStrike" dirty="0">
                          <a:latin typeface="Gotham HTF"/>
                        </a:rPr>
                        <a:t>20/09</a:t>
                      </a:r>
                      <a:r>
                        <a:rPr lang="pt-BR" sz="900" dirty="0">
                          <a:latin typeface="Gotham HTF"/>
                        </a:rPr>
                        <a:t>; 25/09; 26/09, 27/0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dirty="0">
                          <a:solidFill>
                            <a:srgbClr val="FF0000"/>
                          </a:solidFill>
                          <a:latin typeface="Gotham HTF"/>
                        </a:rPr>
                        <a:t>Checkpoint 01</a:t>
                      </a:r>
                      <a:endParaRPr lang="pt-BR" sz="900" dirty="0">
                        <a:latin typeface="Gotham HTF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900" dirty="0">
                        <a:solidFill>
                          <a:srgbClr val="FF0000"/>
                        </a:solidFill>
                        <a:latin typeface="Gotham HTF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14908526"/>
                  </a:ext>
                </a:extLst>
              </a:tr>
              <a:tr h="333595"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0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strike="sngStrike" baseline="0" dirty="0">
                          <a:solidFill>
                            <a:schemeClr val="tx1"/>
                          </a:solidFill>
                          <a:latin typeface="Gotham HTF"/>
                        </a:rPr>
                        <a:t>27/09;</a:t>
                      </a:r>
                      <a:r>
                        <a:rPr lang="pt-BR" sz="900" strike="noStrike" baseline="0" dirty="0">
                          <a:solidFill>
                            <a:schemeClr val="tx1"/>
                          </a:solidFill>
                          <a:latin typeface="Gotham HTF"/>
                        </a:rPr>
                        <a:t> 02/10; 03/10; 04/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Aula 09 – Plataformas IoT – Dashboar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900" dirty="0">
                        <a:solidFill>
                          <a:srgbClr val="FF0000"/>
                        </a:solidFill>
                        <a:latin typeface="Gotham HTF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2429672"/>
                  </a:ext>
                </a:extLst>
              </a:tr>
              <a:tr h="333595"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strike="sngStrike" dirty="0">
                          <a:solidFill>
                            <a:schemeClr val="tx1"/>
                          </a:solidFill>
                          <a:latin typeface="Gotham HTF"/>
                        </a:rPr>
                        <a:t>04/10;</a:t>
                      </a:r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 09/10; 10/10; 11/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Aula 10 – Plataformas IoT – Dashboar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900" dirty="0">
                        <a:solidFill>
                          <a:srgbClr val="FF0000"/>
                        </a:solidFill>
                        <a:latin typeface="Gotham HTF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93207683"/>
                  </a:ext>
                </a:extLst>
              </a:tr>
              <a:tr h="333595"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strike="sngStrike" baseline="0" dirty="0">
                          <a:solidFill>
                            <a:schemeClr val="tx1"/>
                          </a:solidFill>
                          <a:latin typeface="Gotham HTF"/>
                        </a:rPr>
                        <a:t>11/10;</a:t>
                      </a:r>
                      <a:r>
                        <a:rPr lang="pt-BR" sz="900" strike="noStrike" baseline="0" dirty="0">
                          <a:solidFill>
                            <a:schemeClr val="tx1"/>
                          </a:solidFill>
                          <a:latin typeface="Gotham HTF"/>
                        </a:rPr>
                        <a:t> 16/10; 17/10; 18/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>
                          <a:solidFill>
                            <a:srgbClr val="FF0000"/>
                          </a:solidFill>
                          <a:latin typeface="Gotham HTF"/>
                        </a:rPr>
                        <a:t>Checkpoint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900" dirty="0">
                        <a:solidFill>
                          <a:schemeClr val="tx1"/>
                        </a:solidFill>
                        <a:latin typeface="Gotham HTF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3048028"/>
                  </a:ext>
                </a:extLst>
              </a:tr>
              <a:tr h="333595"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strike="sngStrike" dirty="0">
                          <a:solidFill>
                            <a:schemeClr val="tx1"/>
                          </a:solidFill>
                          <a:latin typeface="Gotham HTF"/>
                        </a:rPr>
                        <a:t>18/10;</a:t>
                      </a:r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 23/10; 24/10; 25/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dirty="0">
                          <a:solidFill>
                            <a:srgbClr val="FF0000"/>
                          </a:solidFill>
                          <a:latin typeface="Gotham HTF"/>
                        </a:rPr>
                        <a:t>Preparativo </a:t>
                      </a:r>
                      <a:r>
                        <a:rPr lang="pt-BR" sz="900">
                          <a:solidFill>
                            <a:srgbClr val="FF0000"/>
                          </a:solidFill>
                          <a:latin typeface="Gotham HTF"/>
                        </a:rPr>
                        <a:t>pro Next ?</a:t>
                      </a:r>
                      <a:endParaRPr lang="pt-BR" sz="900" dirty="0">
                        <a:solidFill>
                          <a:srgbClr val="FF0000"/>
                        </a:solidFill>
                        <a:latin typeface="Gotham HTF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900" dirty="0">
                        <a:solidFill>
                          <a:srgbClr val="FF0000"/>
                        </a:solidFill>
                        <a:latin typeface="Gotham HTF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9763790"/>
                  </a:ext>
                </a:extLst>
              </a:tr>
              <a:tr h="333595"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1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strike="sngStrike" dirty="0">
                          <a:solidFill>
                            <a:schemeClr val="tx1"/>
                          </a:solidFill>
                          <a:latin typeface="Gotham HTF"/>
                        </a:rPr>
                        <a:t>25/10;</a:t>
                      </a:r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 30/10; 31/10; 01/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900" dirty="0">
                        <a:solidFill>
                          <a:srgbClr val="FF0000"/>
                        </a:solidFill>
                        <a:latin typeface="Gotham HTF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900" dirty="0">
                        <a:solidFill>
                          <a:srgbClr val="FF0000"/>
                        </a:solidFill>
                        <a:latin typeface="Gotham HTF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27002085"/>
                  </a:ext>
                </a:extLst>
              </a:tr>
              <a:tr h="333595">
                <a:tc>
                  <a:txBody>
                    <a:bodyPr/>
                    <a:lstStyle/>
                    <a:p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900" strike="sngStrike" dirty="0">
                          <a:solidFill>
                            <a:schemeClr val="tx1"/>
                          </a:solidFill>
                          <a:latin typeface="Gotham HTF"/>
                        </a:rPr>
                        <a:t>01/11;</a:t>
                      </a:r>
                      <a:r>
                        <a:rPr lang="pt-BR" sz="900" dirty="0">
                          <a:solidFill>
                            <a:schemeClr val="tx1"/>
                          </a:solidFill>
                          <a:latin typeface="Gotham HTF"/>
                        </a:rPr>
                        <a:t>  06/11; 07/11; 08/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900" dirty="0">
                          <a:solidFill>
                            <a:srgbClr val="FF0000"/>
                          </a:solidFill>
                          <a:latin typeface="Gotham HTF"/>
                        </a:rPr>
                        <a:t>Checkpoint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900" dirty="0">
                        <a:latin typeface="Gotham HTF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57299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34089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6C6786A7_F80B_4018_BD2C_8375128C855D&quot;,&quot;SourceFullName&quot;:&quot;&quot;,&quot;LastUpdate&quot;:&quot;2023-07-21 4:08 PM&quot;,&quot;UpdatedBy&quot;:&quot;Airton&quot;,&quot;IsLinked&quot;:false,&quot;IsBrokenLink&quot;:false,&quot;Type&quot;:2}"/>
</p:tagLst>
</file>

<file path=ppt/theme/theme1.xml><?xml version="1.0" encoding="utf-8"?>
<a:theme xmlns:a="http://schemas.openxmlformats.org/drawingml/2006/main" name="Personalizar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715</TotalTime>
  <Words>817</Words>
  <Application>Microsoft Office PowerPoint</Application>
  <PresentationFormat>Apresentação na tela (4:3)</PresentationFormat>
  <Paragraphs>140</Paragraphs>
  <Slides>11</Slides>
  <Notes>0</Notes>
  <HiddenSlides>0</HiddenSlides>
  <MMClips>0</MMClips>
  <ScaleCrop>false</ScaleCrop>
  <HeadingPairs>
    <vt:vector size="6" baseType="variant">
      <vt:variant>
        <vt:lpstr>Fontes usadas</vt:lpstr>
      </vt:variant>
      <vt:variant>
        <vt:i4>7</vt:i4>
      </vt:variant>
      <vt:variant>
        <vt:lpstr>Tema</vt:lpstr>
      </vt:variant>
      <vt:variant>
        <vt:i4>2</vt:i4>
      </vt:variant>
      <vt:variant>
        <vt:lpstr>Títulos de slides</vt:lpstr>
      </vt:variant>
      <vt:variant>
        <vt:i4>11</vt:i4>
      </vt:variant>
    </vt:vector>
  </HeadingPairs>
  <TitlesOfParts>
    <vt:vector size="20" baseType="lpstr">
      <vt:lpstr>Arial</vt:lpstr>
      <vt:lpstr>Calibri</vt:lpstr>
      <vt:lpstr>Calibri Light</vt:lpstr>
      <vt:lpstr>Gotham HTF</vt:lpstr>
      <vt:lpstr>Gotham HTF Light</vt:lpstr>
      <vt:lpstr>Gotham HTF Medium</vt:lpstr>
      <vt:lpstr>Wingdings</vt:lpstr>
      <vt:lpstr>Personalizar design</vt:lpstr>
      <vt:lpstr>Office Them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Copyright © 2023 Prof. Airton Y. C. Toyofuk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Paula</dc:creator>
  <cp:lastModifiedBy>Airton</cp:lastModifiedBy>
  <cp:revision>422</cp:revision>
  <dcterms:created xsi:type="dcterms:W3CDTF">2018-08-18T04:32:45Z</dcterms:created>
  <dcterms:modified xsi:type="dcterms:W3CDTF">2023-09-11T22:20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ada0a2f-b917-4d51-b0d0-d418a10c8b23_Enabled">
    <vt:lpwstr>True</vt:lpwstr>
  </property>
  <property fmtid="{D5CDD505-2E9C-101B-9397-08002B2CF9AE}" pid="3" name="MSIP_Label_1ada0a2f-b917-4d51-b0d0-d418a10c8b23_SiteId">
    <vt:lpwstr>12a3af23-a769-4654-847f-958f3d479f4a</vt:lpwstr>
  </property>
  <property fmtid="{D5CDD505-2E9C-101B-9397-08002B2CF9AE}" pid="4" name="MSIP_Label_1ada0a2f-b917-4d51-b0d0-d418a10c8b23_Owner">
    <vt:lpwstr>Rafael.Ronqui@BR.nestle.com</vt:lpwstr>
  </property>
  <property fmtid="{D5CDD505-2E9C-101B-9397-08002B2CF9AE}" pid="5" name="MSIP_Label_1ada0a2f-b917-4d51-b0d0-d418a10c8b23_SetDate">
    <vt:lpwstr>2019-02-19T12:24:28.6978643Z</vt:lpwstr>
  </property>
  <property fmtid="{D5CDD505-2E9C-101B-9397-08002B2CF9AE}" pid="6" name="MSIP_Label_1ada0a2f-b917-4d51-b0d0-d418a10c8b23_Name">
    <vt:lpwstr>General Use</vt:lpwstr>
  </property>
  <property fmtid="{D5CDD505-2E9C-101B-9397-08002B2CF9AE}" pid="7" name="MSIP_Label_1ada0a2f-b917-4d51-b0d0-d418a10c8b23_Application">
    <vt:lpwstr>Microsoft Azure Information Protection</vt:lpwstr>
  </property>
  <property fmtid="{D5CDD505-2E9C-101B-9397-08002B2CF9AE}" pid="8" name="MSIP_Label_1ada0a2f-b917-4d51-b0d0-d418a10c8b23_Extended_MSFT_Method">
    <vt:lpwstr>Automatic</vt:lpwstr>
  </property>
  <property fmtid="{D5CDD505-2E9C-101B-9397-08002B2CF9AE}" pid="9" name="Sensitivity">
    <vt:lpwstr>General Use</vt:lpwstr>
  </property>
</Properties>
</file>